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1" r:id="rId2"/>
    <p:sldMasterId id="2147483718" r:id="rId3"/>
    <p:sldMasterId id="2147483730" r:id="rId4"/>
    <p:sldMasterId id="2147483747" r:id="rId5"/>
    <p:sldMasterId id="2147483810" r:id="rId6"/>
  </p:sldMasterIdLst>
  <p:notesMasterIdLst>
    <p:notesMasterId r:id="rId21"/>
  </p:notesMasterIdLst>
  <p:sldIdLst>
    <p:sldId id="8195" r:id="rId7"/>
    <p:sldId id="8102" r:id="rId8"/>
    <p:sldId id="8042" r:id="rId9"/>
    <p:sldId id="8112" r:id="rId10"/>
    <p:sldId id="8188" r:id="rId11"/>
    <p:sldId id="8192" r:id="rId12"/>
    <p:sldId id="8137" r:id="rId13"/>
    <p:sldId id="8173" r:id="rId14"/>
    <p:sldId id="8181" r:id="rId15"/>
    <p:sldId id="8186" r:id="rId16"/>
    <p:sldId id="8179" r:id="rId17"/>
    <p:sldId id="8191" r:id="rId18"/>
    <p:sldId id="8149" r:id="rId19"/>
    <p:sldId id="815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3297ADD-2BCC-41C7-8761-41C44252950A}">
          <p14:sldIdLst/>
        </p14:section>
        <p14:section name="Title" id="{90935516-B587-F247-8500-2392918E3E04}">
          <p14:sldIdLst>
            <p14:sldId id="8195"/>
          </p14:sldIdLst>
        </p14:section>
        <p14:section name="Intro" id="{4023A2AB-73C5-1041-8092-A350890DA302}">
          <p14:sldIdLst>
            <p14:sldId id="8102"/>
            <p14:sldId id="8042"/>
            <p14:sldId id="8112"/>
            <p14:sldId id="8188"/>
            <p14:sldId id="8192"/>
          </p14:sldIdLst>
        </p14:section>
        <p14:section name="Data" id="{7CFA26CF-639C-A240-BFF2-9B8EB472662E}">
          <p14:sldIdLst>
            <p14:sldId id="8137"/>
            <p14:sldId id="8173"/>
            <p14:sldId id="8181"/>
            <p14:sldId id="8186"/>
            <p14:sldId id="8179"/>
            <p14:sldId id="8191"/>
            <p14:sldId id="8149"/>
          </p14:sldIdLst>
        </p14:section>
        <p14:section name="Extras" id="{B492D15F-0764-4046-9323-F154E7FF5478}">
          <p14:sldIdLst>
            <p14:sldId id="815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9A4158-F2EF-F5E1-7F75-8E33B1B35EBF}" name="Carmen Ledesma-Feliciano" initials="CL" userId="S::carmen.ledesma-feliciano@pharmajet.com::cdfb9a93-425d-418a-9af8-0f81e97a4631" providerId="AD"/>
  <p188:author id="{0A44FB69-B1FF-8105-BC47-F5CDC72769B0}" name="Carmen Ledesma-Feliciano" initials="CLF" userId="Carmen Ledesma-Feliciano" providerId="None"/>
  <p188:author id="{519540CD-AE90-DA01-9DC0-FC5AEDC7A9E1}" name="Gregg Wilson" initials="GW" userId="S::gregg.wilson@pharmajet.com::c8f708b1-8a50-4d0e-9488-8d4cf5ffcc21" providerId="AD"/>
  <p188:author id="{6ACA9DDE-E47D-6822-1750-41167580F783}" name="Wilson G" initials="WG" userId="9e90e7dc76c906fd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75918" autoAdjust="0"/>
  </p:normalViewPr>
  <p:slideViewPr>
    <p:cSldViewPr snapToGrid="0">
      <p:cViewPr varScale="1">
        <p:scale>
          <a:sx n="110" d="100"/>
          <a:sy n="110" d="100"/>
        </p:scale>
        <p:origin x="68" y="3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8/10/relationships/authors" Target="author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C2BC95-359C-4089-89B5-3F49F1CDFD4E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B33AC3-43C6-4883-9924-A0D28CA5BB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663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A65A8-E72F-F159-6A03-29D03A992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53139E-2F38-00B2-6E8F-A73220BE89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AFE3BE-B7DC-A6C5-3395-8E9B587F36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613BEA-3AE8-781E-B8CE-9B64388E34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BE037E-A32F-4271-BF66-CD04608DD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90144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en-US" b="1"/>
              <a:t>Immune activation observed with needle-free ID delivery across studie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D4⁺ and CD8⁺ T-cell responses reported in preclinical and clinical mode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Increased immunogenicity observed across multiple vaccine platfor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Ongoing studies are comparing ID and IM delivery route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2C920A-8AF4-44A6-A778-739B54F15B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354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499C9-BF05-9D7D-B5D0-4B12E2D19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Slide Image Placeholder 1">
            <a:extLst>
              <a:ext uri="{FF2B5EF4-FFF2-40B4-BE49-F238E27FC236}">
                <a16:creationId xmlns:a16="http://schemas.microsoft.com/office/drawing/2014/main" id="{4CE22CF8-1ED2-5B66-60C3-4037E49BF6F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8115" name="Notes Placeholder 2">
            <a:extLst>
              <a:ext uri="{FF2B5EF4-FFF2-40B4-BE49-F238E27FC236}">
                <a16:creationId xmlns:a16="http://schemas.microsoft.com/office/drawing/2014/main" id="{C5F9C29F-0904-25A4-8F61-1FC54334CB9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85750" indent="-285750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600" b="0">
                <a:highlight>
                  <a:srgbClr val="FFFF00"/>
                </a:highlight>
                <a:latin typeface="Arial" panose="020B0604020202020204" pitchFamily="34" charset="0"/>
              </a:rPr>
              <a:t>Messaging: Use this as an example of ID delivery providing benefits. Other partners taking this and adding Tropis to their studies  move onto Scancell and other studie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highlight>
                  <a:srgbClr val="FFFF00"/>
                </a:highlight>
              </a:rPr>
              <a:t>Survival was significantly longer in the ID needle-free group compared to untreated, IM needle, and IM needle-free groups (p &lt; 0.05 for all comparisons)</a:t>
            </a:r>
          </a:p>
          <a:p>
            <a:pPr eaLnBrk="1" hangingPunct="1">
              <a:spcBef>
                <a:spcPct val="0"/>
              </a:spcBef>
            </a:pPr>
            <a:endParaRPr lang="en-US" altLang="en-US" sz="1600" b="0">
              <a:highlight>
                <a:srgbClr val="FFFF00"/>
              </a:highlight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en-US" altLang="en-US" sz="1600" b="0">
              <a:highlight>
                <a:srgbClr val="FFFF00"/>
              </a:highlight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600" b="0">
                <a:highlight>
                  <a:srgbClr val="FFFF00"/>
                </a:highlight>
                <a:latin typeface="Arial" panose="020B0604020202020204" pitchFamily="34" charset="0"/>
              </a:rPr>
              <a:t>1. Why was ID – (with needle ) not done? </a:t>
            </a:r>
          </a:p>
        </p:txBody>
      </p:sp>
      <p:sp>
        <p:nvSpPr>
          <p:cNvPr id="218116" name="Slide Number Placeholder 3">
            <a:extLst>
              <a:ext uri="{FF2B5EF4-FFF2-40B4-BE49-F238E27FC236}">
                <a16:creationId xmlns:a16="http://schemas.microsoft.com/office/drawing/2014/main" id="{29B78B22-F4F8-6799-A3CA-C742C102141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2AFA48-1165-4932-A979-39FD1EEFB9D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325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Slide Image Placeholder 1">
            <a:extLst>
              <a:ext uri="{FF2B5EF4-FFF2-40B4-BE49-F238E27FC236}">
                <a16:creationId xmlns:a16="http://schemas.microsoft.com/office/drawing/2014/main" id="{64E0114A-8FBA-53C7-26E9-93F33F62C96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8963" name="Notes Placeholder 2">
            <a:extLst>
              <a:ext uri="{FF2B5EF4-FFF2-40B4-BE49-F238E27FC236}">
                <a16:creationId xmlns:a16="http://schemas.microsoft.com/office/drawing/2014/main" id="{F71BA081-1C79-3C93-7892-4328EAF945F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68964" name="Slide Number Placeholder 3">
            <a:extLst>
              <a:ext uri="{FF2B5EF4-FFF2-40B4-BE49-F238E27FC236}">
                <a16:creationId xmlns:a16="http://schemas.microsoft.com/office/drawing/2014/main" id="{18BC51FF-F98A-F77D-35CD-AA37FE94DF9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A73B34-C1D6-45A3-9573-59CE281E180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67F02-F51C-B52F-99DA-7C16168E50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Slide Image Placeholder 1">
            <a:extLst>
              <a:ext uri="{FF2B5EF4-FFF2-40B4-BE49-F238E27FC236}">
                <a16:creationId xmlns:a16="http://schemas.microsoft.com/office/drawing/2014/main" id="{AAF228B7-A476-938C-E659-37FF4969B14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2515" name="Notes Placeholder 2">
            <a:extLst>
              <a:ext uri="{FF2B5EF4-FFF2-40B4-BE49-F238E27FC236}">
                <a16:creationId xmlns:a16="http://schemas.microsoft.com/office/drawing/2014/main" id="{13305414-ED56-D777-300B-26C9548070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/>
              <a:t>RREF: 	</a:t>
            </a:r>
            <a:r>
              <a:rPr kumimoji="0" lang="en-US" sz="800" b="1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1. </a:t>
            </a:r>
            <a:r>
              <a:rPr lang="en-US" sz="800" b="1" dirty="0">
                <a:ln/>
                <a:solidFill>
                  <a:srgbClr val="3471B8">
                    <a:lumMod val="50000"/>
                  </a:srgbClr>
                </a:solidFill>
              </a:rPr>
              <a:t>West, H. C., &amp; Bennett, C. L. (2018). Redefining the Role of Langerhans Cells As Immune Regulators within the Skin. Front. Immunol. 8(1941),1-5. </a:t>
            </a:r>
            <a:endParaRPr kumimoji="0" lang="en-US" sz="800" b="1" i="0" u="none" strike="noStrike" kern="1200" cap="none" spc="0" normalizeH="0" baseline="0" noProof="0" dirty="0">
              <a:ln/>
              <a:solidFill>
                <a:srgbClr val="3471B8">
                  <a:lumMod val="50000"/>
                </a:srgbClr>
              </a:solidFill>
              <a:effectLst/>
              <a:uLnTx/>
              <a:uFillTx/>
              <a:ea typeface="+mn-ea"/>
              <a:cs typeface="+mn-cs"/>
            </a:endParaRP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1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	2.</a:t>
            </a:r>
            <a:r>
              <a:rPr lang="en-US" sz="8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800" b="1" dirty="0">
                <a:ln/>
                <a:solidFill>
                  <a:srgbClr val="3471B8">
                    <a:lumMod val="50000"/>
                  </a:srgbClr>
                </a:solidFill>
              </a:rPr>
              <a:t>Lind, A., et al. (2012). Intradermal vaccination of HIV-infected patients with short HIV Gag p24-like peptides induces CD4⁺ and CD8⁺ T cell responses lasting more than seven years. Scandinavian Journal of Infectious 	Diseases, 44(8), 566–572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ln/>
                <a:solidFill>
                  <a:srgbClr val="3471B8">
                    <a:lumMod val="50000"/>
                  </a:srgbClr>
                </a:solidFill>
              </a:rPr>
              <a:t>	3. Kashem, S. W., </a:t>
            </a:r>
            <a:r>
              <a:rPr lang="en-US" sz="800" b="1" dirty="0" err="1">
                <a:ln/>
                <a:solidFill>
                  <a:srgbClr val="3471B8">
                    <a:lumMod val="50000"/>
                  </a:srgbClr>
                </a:solidFill>
              </a:rPr>
              <a:t>Haniffa</a:t>
            </a:r>
            <a:r>
              <a:rPr lang="en-US" sz="800" b="1" dirty="0">
                <a:ln/>
                <a:solidFill>
                  <a:srgbClr val="3471B8">
                    <a:lumMod val="50000"/>
                  </a:srgbClr>
                </a:solidFill>
              </a:rPr>
              <a:t>, M., &amp; Kaplan, D. H. (2017). Antigen-presenting cells in the skin. Annual Review of Immunology, 35, 469–499. </a:t>
            </a: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ln/>
                <a:solidFill>
                  <a:srgbClr val="3471B8">
                    <a:lumMod val="50000"/>
                  </a:srgbClr>
                </a:solidFill>
              </a:rPr>
              <a:t>	4. Hernandez-Franco, et al. (2023). Intradermal Vaccination against Influenza with a STING-Targeted Nanoparticle Combination Adjuvant Induces Superior Cross-Protective Humoral Immunity in Swine Compared with 	Intranasal and Intramuscular Immunization. Vaccines, 11, 1-17.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 dirty="0"/>
          </a:p>
        </p:txBody>
      </p:sp>
      <p:sp>
        <p:nvSpPr>
          <p:cNvPr id="192516" name="Slide Number Placeholder 3">
            <a:extLst>
              <a:ext uri="{FF2B5EF4-FFF2-40B4-BE49-F238E27FC236}">
                <a16:creationId xmlns:a16="http://schemas.microsoft.com/office/drawing/2014/main" id="{A274FDAF-EE23-CC31-39B8-D077398B9F4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0A0A5-2909-4A7D-9FC2-9FDF4970C57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471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8E7D9-9705-84D4-63AD-52EB97E99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Slide Image Placeholder 1">
            <a:extLst>
              <a:ext uri="{FF2B5EF4-FFF2-40B4-BE49-F238E27FC236}">
                <a16:creationId xmlns:a16="http://schemas.microsoft.com/office/drawing/2014/main" id="{51993C42-E4FA-EBE6-A83E-59D40F819B1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8115" name="Notes Placeholder 2">
            <a:extLst>
              <a:ext uri="{FF2B5EF4-FFF2-40B4-BE49-F238E27FC236}">
                <a16:creationId xmlns:a16="http://schemas.microsoft.com/office/drawing/2014/main" id="{251E6C81-8AEB-A9E8-0DBE-507F4173DB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2400"/>
              </a:spcAft>
              <a:defRPr/>
            </a:pPr>
            <a:r>
              <a:rPr lang="en-US" altLang="en-US" sz="1600" b="1" dirty="0">
                <a:highlight>
                  <a:srgbClr val="FFFF00"/>
                </a:highlight>
                <a:latin typeface="Arial" panose="020B0604020202020204" pitchFamily="34" charset="0"/>
              </a:rPr>
              <a:t>REF: </a:t>
            </a:r>
            <a:r>
              <a:rPr lang="en-US" sz="800" b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Peng, S., et al. (2023). </a:t>
            </a:r>
            <a:r>
              <a:rPr lang="en-US" sz="1800" b="1" dirty="0"/>
              <a:t>Immune responses, therapeutic anti-tumor effects, and tolerability upon therapeutic HPV16/18 E6/E7 DNA vaccination via needle-free biojector.</a:t>
            </a:r>
            <a:r>
              <a:rPr lang="en-US" sz="800" b="1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mBio</a:t>
            </a:r>
            <a:r>
              <a:rPr lang="en-US" sz="800" b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,</a:t>
            </a:r>
            <a:r>
              <a:rPr lang="en-US" sz="800" b="1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14</a:t>
            </a:r>
            <a:r>
              <a:rPr lang="en-US" sz="800" b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(5), 1-19.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678CC8">
                  <a:lumMod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endParaRPr lang="en-US" altLang="en-US" sz="1600" b="0" dirty="0"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sp>
        <p:nvSpPr>
          <p:cNvPr id="218116" name="Slide Number Placeholder 3">
            <a:extLst>
              <a:ext uri="{FF2B5EF4-FFF2-40B4-BE49-F238E27FC236}">
                <a16:creationId xmlns:a16="http://schemas.microsoft.com/office/drawing/2014/main" id="{5D11D710-650A-08E2-D023-8797E0DAE3F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2AFA48-1165-4932-A979-39FD1EEFB9D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695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DBE3A-2B41-6764-B8E6-2D375FFDD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Slide Image Placeholder 1">
            <a:extLst>
              <a:ext uri="{FF2B5EF4-FFF2-40B4-BE49-F238E27FC236}">
                <a16:creationId xmlns:a16="http://schemas.microsoft.com/office/drawing/2014/main" id="{CD8A9EA1-09EB-C7AB-4142-3A801C4FA9C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8115" name="Notes Placeholder 2">
            <a:extLst>
              <a:ext uri="{FF2B5EF4-FFF2-40B4-BE49-F238E27FC236}">
                <a16:creationId xmlns:a16="http://schemas.microsoft.com/office/drawing/2014/main" id="{FB2F7146-A317-80B1-EB7F-C876A713EA7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REF: </a:t>
            </a:r>
            <a:r>
              <a:rPr lang="en-US" sz="800" b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Peng, S., et al. (2023). </a:t>
            </a:r>
            <a:r>
              <a:rPr lang="en-US" sz="1600" b="1" dirty="0"/>
              <a:t>Immune responses, therapeutic anti-tumor effects, and tolerability upon therapeutic HPV16/18 E6/E7 DNA vaccination via needle-free biojector.</a:t>
            </a:r>
            <a:r>
              <a:rPr lang="en-US" sz="800" b="1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mBio</a:t>
            </a:r>
            <a:r>
              <a:rPr lang="en-US" sz="800" b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,</a:t>
            </a:r>
            <a:r>
              <a:rPr lang="en-US" sz="800" b="1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14</a:t>
            </a:r>
            <a:r>
              <a:rPr lang="en-US" sz="800" b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(5), 1-19.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678CC8">
                  <a:lumMod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600" b="1" dirty="0">
              <a:solidFill>
                <a:srgbClr val="041827">
                  <a:lumMod val="90000"/>
                  <a:lumOff val="10000"/>
                </a:srgbClr>
              </a:solidFill>
              <a:latin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dirty="0">
              <a:solidFill>
                <a:srgbClr val="041827">
                  <a:lumMod val="90000"/>
                  <a:lumOff val="10000"/>
                </a:srgbClr>
              </a:solidFill>
              <a:latin typeface="Segoe UI" panose="020B0502040204020203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en-US" altLang="en-US" sz="1600" b="0" dirty="0"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sp>
        <p:nvSpPr>
          <p:cNvPr id="218116" name="Slide Number Placeholder 3">
            <a:extLst>
              <a:ext uri="{FF2B5EF4-FFF2-40B4-BE49-F238E27FC236}">
                <a16:creationId xmlns:a16="http://schemas.microsoft.com/office/drawing/2014/main" id="{3C74811B-1474-8452-C736-7ACEE131996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2AFA48-1165-4932-A979-39FD1EEFB9D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253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69620-FABE-58C4-62BA-C6FF26E53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10C25-8040-F79A-FFD3-5527B5B673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E242FA-DE31-5EEE-7D88-F6F1EA0F25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REF: </a:t>
            </a:r>
            <a:r>
              <a:rPr lang="en-US" sz="18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illemanns, P. , et al. (2022). </a:t>
            </a:r>
            <a:r>
              <a:rPr lang="en-US" sz="2800" b="1" dirty="0"/>
              <a:t>A therapeutic antigen-presenting cell-targeting DNA vaccine VB10.16 in HPV16-positive high-grade cervical intraepithelial neoplasia: Results from a Phase I/</a:t>
            </a:r>
            <a:r>
              <a:rPr lang="en-US" sz="2800" b="1" dirty="0" err="1"/>
              <a:t>IIa</a:t>
            </a:r>
            <a:r>
              <a:rPr lang="en-US" sz="2800" b="1" dirty="0"/>
              <a:t> trial. </a:t>
            </a:r>
          </a:p>
          <a:p>
            <a:r>
              <a:rPr lang="en-US" sz="1800" b="1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linical Cancer Research, 28</a:t>
            </a:r>
            <a:r>
              <a:rPr lang="en-US" sz="18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rial" panose="020B0604020202020204" pitchFamily="34" charset="0"/>
              </a:rPr>
              <a:t>(22), 4885-4892. </a:t>
            </a:r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FC52C-9E28-686D-5C23-BAFE5D722E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2D90BB-2DA8-4986-A38B-81D9FFA0CF2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226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43D40-8FEF-B1D8-A9C4-00F28F164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Slide Image Placeholder 1">
            <a:extLst>
              <a:ext uri="{FF2B5EF4-FFF2-40B4-BE49-F238E27FC236}">
                <a16:creationId xmlns:a16="http://schemas.microsoft.com/office/drawing/2014/main" id="{624A405E-F1E7-8EB5-943A-869A9A104A9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5347" name="Notes Placeholder 2">
            <a:extLst>
              <a:ext uri="{FF2B5EF4-FFF2-40B4-BE49-F238E27FC236}">
                <a16:creationId xmlns:a16="http://schemas.microsoft.com/office/drawing/2014/main" id="{478C7061-2EA1-8580-60D6-7692B266716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en-US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EF: </a:t>
            </a:r>
            <a:r>
              <a:rPr lang="en-US" sz="1800" b="0" i="0" u="none" strike="noStrike" baseline="0" dirty="0">
                <a:latin typeface="HelveticaNeueLTStd-Cn"/>
              </a:rPr>
              <a:t>Hillemanns P. , Zikan M., Forget F. , </a:t>
            </a:r>
            <a:r>
              <a:rPr lang="en-US" sz="1800" b="0" i="1" u="none" strike="noStrike" baseline="0" dirty="0">
                <a:latin typeface="HelveticaNeueLTStd-CnO"/>
              </a:rPr>
              <a:t>et al</a:t>
            </a:r>
            <a:r>
              <a:rPr lang="en-US" sz="1800" b="0" i="0" u="none" strike="noStrike" baseline="0" dirty="0">
                <a:latin typeface="HelveticaNeueLTStd-Cn"/>
              </a:rPr>
              <a:t>. (2025). Safety and efficacy of the therapeutic DNA-based vaccine VB10.16 in combination with atezolizumab in persistent, recurrent or metastatic HPV16-positive cervical cancer: a multicenter, single-arm phase 2a study </a:t>
            </a:r>
            <a:r>
              <a:rPr lang="en-US" sz="1800" b="0" i="1" u="none" strike="noStrike" baseline="0" dirty="0">
                <a:latin typeface="HelveticaNeueLTStd-CnO"/>
              </a:rPr>
              <a:t>Journal for </a:t>
            </a:r>
            <a:r>
              <a:rPr lang="en-US" sz="1800" b="0" i="1" u="none" strike="noStrike" baseline="0" dirty="0" err="1">
                <a:latin typeface="HelveticaNeueLTStd-CnO"/>
              </a:rPr>
              <a:t>Immuno</a:t>
            </a:r>
            <a:r>
              <a:rPr lang="en-US" sz="1800" b="0" i="1" u="none" strike="noStrike" baseline="0" dirty="0">
                <a:latin typeface="HelveticaNeueLTStd-CnO"/>
              </a:rPr>
              <a:t> Therapy of Cancer</a:t>
            </a:r>
            <a:r>
              <a:rPr lang="en-US" sz="1800" b="0" i="0" u="none" strike="noStrike" baseline="0" dirty="0">
                <a:latin typeface="HelveticaNeueLTStd-Cn"/>
              </a:rPr>
              <a:t>;</a:t>
            </a:r>
            <a:r>
              <a:rPr lang="en-US" sz="1800" b="0" i="0" u="none" strike="noStrike" baseline="0" dirty="0">
                <a:latin typeface="HelveticaNeueLTStd-BdCn"/>
              </a:rPr>
              <a:t>13</a:t>
            </a:r>
            <a:r>
              <a:rPr lang="en-US" sz="1800" b="0" i="0" u="none" strike="noStrike" baseline="0" dirty="0">
                <a:latin typeface="HelveticaNeueLTStd-Cn"/>
              </a:rPr>
              <a:t>:e010827. 1-10.</a:t>
            </a:r>
            <a:endParaRPr lang="en-US" sz="1600" b="0" dirty="0"/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US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372" name="Slide Number Placeholder 3">
            <a:extLst>
              <a:ext uri="{FF2B5EF4-FFF2-40B4-BE49-F238E27FC236}">
                <a16:creationId xmlns:a16="http://schemas.microsoft.com/office/drawing/2014/main" id="{3B82CD44-8162-4FD3-DE81-835C71FC8E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38EA01-8F59-455C-A83E-C337380D90C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7660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F52934-F6C3-94F1-CDE1-B87FFB75D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Slide Image Placeholder 1">
            <a:extLst>
              <a:ext uri="{FF2B5EF4-FFF2-40B4-BE49-F238E27FC236}">
                <a16:creationId xmlns:a16="http://schemas.microsoft.com/office/drawing/2014/main" id="{EDEBC6B7-C019-D61B-48A0-0F41DB726A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7395" name="Notes Placeholder 2">
            <a:extLst>
              <a:ext uri="{FF2B5EF4-FFF2-40B4-BE49-F238E27FC236}">
                <a16:creationId xmlns:a16="http://schemas.microsoft.com/office/drawing/2014/main" id="{9D4FED6C-F0F1-6B1D-D9B2-2982FD55D3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EF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78CC8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haw, H., et al. (February 2025)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678CC8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 DNA plasmid melanoma cancer vaccine, SCIB1, combined with nivolumab + ipilimumab in patients with advanced unresectable melanoma: Efficacy and safety results from the open-label Phase 2 SCOPE Trial. [Poster presentation]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78CC8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merican </a:t>
            </a:r>
            <a:r>
              <a:rPr lang="en-US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sociation for Cancer Research (Immuno-Oncology).</a:t>
            </a:r>
          </a:p>
        </p:txBody>
      </p:sp>
      <p:sp>
        <p:nvSpPr>
          <p:cNvPr id="190468" name="Slide Number Placeholder 3">
            <a:extLst>
              <a:ext uri="{FF2B5EF4-FFF2-40B4-BE49-F238E27FC236}">
                <a16:creationId xmlns:a16="http://schemas.microsoft.com/office/drawing/2014/main" id="{31C4DE3E-B299-234D-697B-9F26D1B4E0E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E24AD0-8DDA-40F2-8BDB-24181690B8A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4285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A0D41A-F362-EAAA-F47A-AA47E8F7F1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274F1E-0DBE-9B1E-8264-F92D91F03E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621F29-9AEB-F165-38EB-4A9752FEBA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F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471B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cancell. (2025, </a:t>
            </a:r>
            <a:r>
              <a:rPr lang="en-US" sz="800" dirty="0">
                <a:solidFill>
                  <a:srgbClr val="3471B8"/>
                </a:solidFill>
              </a:rPr>
              <a:t>January 30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471B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). </a:t>
            </a:r>
            <a:r>
              <a:rPr lang="en-US" sz="800" dirty="0">
                <a:solidFill>
                  <a:srgbClr val="3471B8"/>
                </a:solidFill>
              </a:rPr>
              <a:t>Interim Results for the six months ended 31 October 2024 [Press release]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double checkpoint inhibitors alone without the Scancell platform yields an ORR ~ 48%</a:t>
            </a:r>
          </a:p>
          <a:p>
            <a:r>
              <a:rPr lang="en-US" dirty="0"/>
              <a:t>Adding Scancell platform increases the overall response rate to 72%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A048B8-07B5-E0D3-B1EE-337E8FB108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2D90BB-2DA8-4986-A38B-81D9FFA0CF2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224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4" Type="http://schemas.openxmlformats.org/officeDocument/2006/relationships/image" Target="../media/image16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3.jpeg"/><Relationship Id="rId5" Type="http://schemas.openxmlformats.org/officeDocument/2006/relationships/image" Target="../media/image4.png"/><Relationship Id="rId4" Type="http://schemas.openxmlformats.org/officeDocument/2006/relationships/image" Target="../media/image2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2.png"/><Relationship Id="rId4" Type="http://schemas.openxmlformats.org/officeDocument/2006/relationships/image" Target="../media/image29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5B59A3-D8AB-255F-5EE1-08D061A46519}"/>
              </a:ext>
            </a:extLst>
          </p:cNvPr>
          <p:cNvSpPr/>
          <p:nvPr/>
        </p:nvSpPr>
        <p:spPr>
          <a:xfrm>
            <a:off x="-13960" y="-6981"/>
            <a:ext cx="12250168" cy="315893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353EFABD-3ECD-5F62-A2AD-10735965DD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-23813"/>
            <a:ext cx="9199563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5E31875-0B09-130A-4CAB-1DDC068B092D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96B6727-5C36-E20E-3952-16FEF88EA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91F4A512-3A38-FB0A-2DA4-A0ADC4610C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252" y="4397292"/>
            <a:ext cx="3714798" cy="1114804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68516C9-8496-F025-B140-6F48BBB607F1}"/>
              </a:ext>
            </a:extLst>
          </p:cNvPr>
          <p:cNvCxnSpPr>
            <a:cxnSpLocks/>
          </p:cNvCxnSpPr>
          <p:nvPr/>
        </p:nvCxnSpPr>
        <p:spPr>
          <a:xfrm>
            <a:off x="2394857" y="3093244"/>
            <a:ext cx="9841351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4" y="576072"/>
            <a:ext cx="8788893" cy="1425393"/>
          </a:xfrm>
        </p:spPr>
        <p:txBody>
          <a:bodyPr anchor="b">
            <a:noAutofit/>
          </a:bodyPr>
          <a:lstStyle>
            <a:lvl1pPr algn="ctr">
              <a:defRPr lang="en-US" sz="5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1940703"/>
            <a:ext cx="8788893" cy="485020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25F040EC-4E3E-E8BE-DD53-0955E341B8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4FFD550C-F140-43ED-99B4-70C3C9B7FB41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4A20255-5818-7C17-716D-39C9144F2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536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D8EE1EB2-6191-1F17-E7FF-6B4425A62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1113"/>
            <a:ext cx="12684126" cy="694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747F55B-6AD2-DE66-6B84-751FFE9C3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9300" y="6480175"/>
            <a:ext cx="573088" cy="11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9B4A87B-F6AC-0324-4FA3-2322F72A82DE}"/>
              </a:ext>
            </a:extLst>
          </p:cNvPr>
          <p:cNvCxnSpPr>
            <a:cxnSpLocks/>
          </p:cNvCxnSpPr>
          <p:nvPr/>
        </p:nvCxnSpPr>
        <p:spPr>
          <a:xfrm>
            <a:off x="11558588" y="6446838"/>
            <a:ext cx="0" cy="18415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383" y="962630"/>
            <a:ext cx="6682132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8383" y="3842355"/>
            <a:ext cx="668213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8D1B507-A728-A000-3888-A11602C6A0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805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52D8F-FDFD-4F54-912B-CF54A86C604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1837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B39352-1D43-D64A-E0A8-3E016670C4FE}"/>
              </a:ext>
            </a:extLst>
          </p:cNvPr>
          <p:cNvSpPr/>
          <p:nvPr userDrawn="1"/>
        </p:nvSpPr>
        <p:spPr>
          <a:xfrm>
            <a:off x="-8548" y="-23526"/>
            <a:ext cx="14662485" cy="4547400"/>
          </a:xfrm>
          <a:prstGeom prst="rect">
            <a:avLst/>
          </a:prstGeom>
          <a:gradFill flip="none" rotWithShape="1">
            <a:gsLst>
              <a:gs pos="6000">
                <a:srgbClr val="10578D"/>
              </a:gs>
              <a:gs pos="88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5227D38-A333-9A1A-AC84-CD1646C05A37}"/>
              </a:ext>
            </a:extLst>
          </p:cNvPr>
          <p:cNvSpPr/>
          <p:nvPr userDrawn="1"/>
        </p:nvSpPr>
        <p:spPr>
          <a:xfrm>
            <a:off x="0" y="3028950"/>
            <a:ext cx="12192000" cy="3851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26CBE8-2E68-EB87-DD51-94FB8A0AA38E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17973312" flipH="1" flipV="1">
            <a:off x="275784" y="1029891"/>
            <a:ext cx="1213086" cy="1340743"/>
          </a:xfrm>
          <a:prstGeom prst="ellipse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10E13AD-D3AA-EBBF-259D-B605E6636166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19909623" flipH="1" flipV="1">
            <a:off x="1256775" y="343148"/>
            <a:ext cx="760339" cy="840352"/>
          </a:xfrm>
          <a:prstGeom prst="ellipse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CD521EB-4C82-B1E7-F948-2FABCB349196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18760415" flipH="1" flipV="1">
            <a:off x="456252" y="84183"/>
            <a:ext cx="568166" cy="627955"/>
          </a:xfrm>
          <a:prstGeom prst="ellipse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73794" y="378873"/>
            <a:ext cx="7476844" cy="157035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b="0" i="0" spc="-50" baseline="0">
                <a:solidFill>
                  <a:schemeClr val="bg1"/>
                </a:solidFill>
                <a:latin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50707" y="2005521"/>
            <a:ext cx="7399931" cy="852930"/>
          </a:xfrm>
        </p:spPr>
        <p:txBody>
          <a:bodyPr>
            <a:normAutofit/>
          </a:bodyPr>
          <a:lstStyle>
            <a:lvl1pPr marL="0" indent="0" algn="l">
              <a:buNone/>
              <a:defRPr sz="2400" b="0" i="0" cap="none" spc="200" baseline="0">
                <a:solidFill>
                  <a:srgbClr val="34AADC"/>
                </a:solidFill>
                <a:latin typeface="Poppins" pitchFamily="2" charset="77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9884" y="3464955"/>
            <a:ext cx="5220754" cy="2845358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1pPr>
            <a:lvl2pPr>
              <a:defRPr b="0">
                <a:solidFill>
                  <a:schemeClr val="accent2"/>
                </a:solidFill>
                <a:latin typeface="Myriad Pro Light SemiExt" panose="020B0405030403020204" pitchFamily="34" charset="0"/>
              </a:defRPr>
            </a:lvl2pPr>
            <a:lvl3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3pPr>
            <a:lvl4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4pPr>
            <a:lvl5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7C1343D-92A7-C322-F738-052B998DD3D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ABE1B011-7D1B-47A1-9971-ADB3A1CEF6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2365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3" descr="A picture containing invertebrate, person, coelenterate, dark&#10;&#10;Description automatically generated">
            <a:extLst>
              <a:ext uri="{FF2B5EF4-FFF2-40B4-BE49-F238E27FC236}">
                <a16:creationId xmlns:a16="http://schemas.microsoft.com/office/drawing/2014/main" id="{CA8B6E4B-CAB7-7C3C-2B9E-4B1877AFA632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flipH="1">
            <a:off x="-293688" y="-120650"/>
            <a:ext cx="12831763" cy="71278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B7D2EB7-3366-84AD-F737-52908AEDF22D}"/>
              </a:ext>
            </a:extLst>
          </p:cNvPr>
          <p:cNvSpPr/>
          <p:nvPr userDrawn="1"/>
        </p:nvSpPr>
        <p:spPr>
          <a:xfrm>
            <a:off x="-34925" y="6492875"/>
            <a:ext cx="12226925" cy="36512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BCBE1552-53E2-3D5F-E774-1833FB115BA0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163513" y="6546850"/>
            <a:ext cx="1209675" cy="2889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DDC2C68-31B6-F25E-3562-583E8A4AF39E}"/>
              </a:ext>
            </a:extLst>
          </p:cNvPr>
          <p:cNvCxnSpPr>
            <a:cxnSpLocks/>
          </p:cNvCxnSpPr>
          <p:nvPr userDrawn="1"/>
        </p:nvCxnSpPr>
        <p:spPr>
          <a:xfrm>
            <a:off x="-293688" y="3784600"/>
            <a:ext cx="869315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89966" y="90743"/>
            <a:ext cx="6157670" cy="3338258"/>
          </a:xfrm>
        </p:spPr>
        <p:txBody>
          <a:bodyPr>
            <a:normAutofit/>
          </a:bodyPr>
          <a:lstStyle>
            <a:lvl1pPr marL="0">
              <a:defRPr sz="60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69A6F6D9-5583-AE40-C1C3-6012C43044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8888" y="6523038"/>
            <a:ext cx="434975" cy="2905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3B53ACD3-888D-460B-8A04-1C06BFBF9C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33349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EA1A672-6424-DA64-4EF7-40F435F5FFB3}"/>
              </a:ext>
            </a:extLst>
          </p:cNvPr>
          <p:cNvSpPr/>
          <p:nvPr userDrawn="1"/>
        </p:nvSpPr>
        <p:spPr>
          <a:xfrm>
            <a:off x="-34539" y="-116956"/>
            <a:ext cx="15118163" cy="7081282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89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E94514D-AB11-F4BF-A38E-EE08076F73C2}"/>
              </a:ext>
            </a:extLst>
          </p:cNvPr>
          <p:cNvSpPr/>
          <p:nvPr userDrawn="1"/>
        </p:nvSpPr>
        <p:spPr>
          <a:xfrm>
            <a:off x="-127000" y="584200"/>
            <a:ext cx="4359275" cy="542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B26FAD80-9BD7-1D4E-3374-F708E145BFC2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163513" y="6546850"/>
            <a:ext cx="1209675" cy="2889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Picture 10">
            <a:extLst>
              <a:ext uri="{FF2B5EF4-FFF2-40B4-BE49-F238E27FC236}">
                <a16:creationId xmlns:a16="http://schemas.microsoft.com/office/drawing/2014/main" id="{8F6D7605-31E1-B14D-BDE4-B23705E25A6F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3030538" y="-333375"/>
            <a:ext cx="11417300" cy="844073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89966" y="765544"/>
            <a:ext cx="3892936" cy="4986670"/>
          </a:xfrm>
        </p:spPr>
        <p:txBody>
          <a:bodyPr>
            <a:normAutofit/>
          </a:bodyPr>
          <a:lstStyle>
            <a:lvl1pPr marL="0">
              <a:defRPr sz="6000" cap="none" baseline="0">
                <a:solidFill>
                  <a:schemeClr val="accent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E3378B0-3FF4-B7ED-00E8-7F1D11103A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8888" y="6523038"/>
            <a:ext cx="434975" cy="29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7C5D18B-943B-4F00-8871-33A68439A1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3547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on DNA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B69D63-70DF-25B7-C0A9-E1273B95BB25}"/>
              </a:ext>
            </a:extLst>
          </p:cNvPr>
          <p:cNvSpPr/>
          <p:nvPr userDrawn="1"/>
        </p:nvSpPr>
        <p:spPr>
          <a:xfrm>
            <a:off x="-94003" y="-59821"/>
            <a:ext cx="12374310" cy="125070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Picture 7">
            <a:extLst>
              <a:ext uri="{FF2B5EF4-FFF2-40B4-BE49-F238E27FC236}">
                <a16:creationId xmlns:a16="http://schemas.microsoft.com/office/drawing/2014/main" id="{3ACAC19A-06CE-7330-31E5-CCA8EC2119B1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rot="20385594" flipV="1">
            <a:off x="8924925" y="-231775"/>
            <a:ext cx="2732088" cy="16256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CB961603-323D-5348-D5FF-1A26E5DC51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DF36E7-AED9-40A2-BA24-CB42CA3331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84179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(more space)_Neon DNA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A8C3220-9ADB-3CC9-D6A9-CA692DF3C21F}"/>
              </a:ext>
            </a:extLst>
          </p:cNvPr>
          <p:cNvSpPr/>
          <p:nvPr userDrawn="1"/>
        </p:nvSpPr>
        <p:spPr>
          <a:xfrm>
            <a:off x="-94003" y="-59821"/>
            <a:ext cx="12374310" cy="913697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Picture 7">
            <a:extLst>
              <a:ext uri="{FF2B5EF4-FFF2-40B4-BE49-F238E27FC236}">
                <a16:creationId xmlns:a16="http://schemas.microsoft.com/office/drawing/2014/main" id="{A8E4C2ED-0934-D2D3-ED34-0769E7DFFA1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rot="20385594" flipV="1">
            <a:off x="9401175" y="-300038"/>
            <a:ext cx="2282825" cy="135890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3"/>
            <a:ext cx="6904545" cy="611222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C8B0565A-9641-EB98-D266-8D1EA0A47D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636150-50DB-4475-BBB8-C778F9EF56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563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rus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E14323-5993-7376-DA30-67364A147D27}"/>
              </a:ext>
            </a:extLst>
          </p:cNvPr>
          <p:cNvSpPr/>
          <p:nvPr userDrawn="1"/>
        </p:nvSpPr>
        <p:spPr>
          <a:xfrm>
            <a:off x="-8547" y="-8546"/>
            <a:ext cx="15083625" cy="1190884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89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07E679-3361-4F4D-B14F-1813941AB3AB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7507767" flipH="1" flipV="1">
            <a:off x="8473518" y="-447857"/>
            <a:ext cx="1801336" cy="1990897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94437D0-05E4-BCCD-C4BF-E57135AA1DEC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7600121" flipH="1" flipV="1">
            <a:off x="10903317" y="316984"/>
            <a:ext cx="763106" cy="843410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51EB91-6E70-0D03-3AEC-B43B2ABA22AC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6591251" flipH="1" flipV="1">
            <a:off x="11657586" y="92667"/>
            <a:ext cx="393269" cy="434654"/>
          </a:xfrm>
          <a:prstGeom prst="ellipse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23C319-4DF5-0F7E-0AE4-CCEA7DF04492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6777276" flipH="1" flipV="1">
            <a:off x="10273533" y="70289"/>
            <a:ext cx="531609" cy="587552"/>
          </a:xfrm>
          <a:prstGeom prst="ellipse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E5CD68AE-7864-6A18-AF58-4BADB660F1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68F9FF-82B4-4FA7-ABC1-06114105A9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3162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rus Conten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2BAAA61-B8C5-CAD5-1E7E-176DBDFF4426}"/>
              </a:ext>
            </a:extLst>
          </p:cNvPr>
          <p:cNvSpPr/>
          <p:nvPr userDrawn="1"/>
        </p:nvSpPr>
        <p:spPr>
          <a:xfrm>
            <a:off x="-34925" y="6492875"/>
            <a:ext cx="12226925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0052DA-1596-9A74-9202-1278E286AF16}"/>
              </a:ext>
            </a:extLst>
          </p:cNvPr>
          <p:cNvSpPr/>
          <p:nvPr userDrawn="1"/>
        </p:nvSpPr>
        <p:spPr>
          <a:xfrm>
            <a:off x="-34539" y="-92364"/>
            <a:ext cx="15118163" cy="6585239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89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F8DFE0-7127-E47A-127D-23B8D4CB336E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2728985" flipH="1" flipV="1">
            <a:off x="8762100" y="-1028028"/>
            <a:ext cx="2626786" cy="2903211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73B823-E0D6-981C-9864-7671BE8B0A69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4678543" flipH="1" flipV="1">
            <a:off x="11256267" y="623323"/>
            <a:ext cx="1029886" cy="1138264"/>
          </a:xfrm>
          <a:prstGeom prst="ellipse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354ADC-3432-BE0E-BB33-F3755FA0EB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8888" y="6523038"/>
            <a:ext cx="434975" cy="2905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BC7C5D56-1A4D-4BC3-AF43-6DC2069929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4040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3BCE96F-ACF7-0005-7AB8-FA792531B48B}"/>
              </a:ext>
            </a:extLst>
          </p:cNvPr>
          <p:cNvSpPr/>
          <p:nvPr userDrawn="1"/>
        </p:nvSpPr>
        <p:spPr>
          <a:xfrm flipV="1">
            <a:off x="-58365" y="-6049926"/>
            <a:ext cx="12289277" cy="12542800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7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3C8D15-38CF-CC68-DB8A-04F1CCC42CCD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031761-A968-75AD-FF88-448F58C21FD2}"/>
              </a:ext>
            </a:extLst>
          </p:cNvPr>
          <p:cNvSpPr/>
          <p:nvPr userDrawn="1"/>
        </p:nvSpPr>
        <p:spPr>
          <a:xfrm rot="16200000" flipH="1" flipV="1">
            <a:off x="-2477294" y="-838994"/>
            <a:ext cx="6846888" cy="4527550"/>
          </a:xfrm>
          <a:prstGeom prst="rect">
            <a:avLst/>
          </a:prstGeom>
          <a:blipFill dpi="0" rotWithShape="1">
            <a:blip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1650" y="1308100"/>
            <a:ext cx="6731000" cy="477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32DEBE-F66A-DEAA-0832-63F7F419E88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3BABB7D-2D9F-4989-B92D-BA80386D7E0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8254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urple DNA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2B9F8A-987B-12C8-76D1-76F38206004B}"/>
              </a:ext>
            </a:extLst>
          </p:cNvPr>
          <p:cNvSpPr/>
          <p:nvPr userDrawn="1"/>
        </p:nvSpPr>
        <p:spPr>
          <a:xfrm>
            <a:off x="-92279" y="-58723"/>
            <a:ext cx="12382151" cy="1249607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0FAB1B-B175-2525-CFBF-0440284FCA3C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 rot="8893530">
            <a:off x="8575099" y="-473832"/>
            <a:ext cx="3934191" cy="2138546"/>
          </a:xfrm>
          <a:prstGeom prst="rect">
            <a:avLst/>
          </a:prstGeom>
          <a:effectLst>
            <a:softEdge rad="139700"/>
          </a:effec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692D86-08A5-C67F-0E46-4440200899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8E615B-2579-4800-B3C0-305235B009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82949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urple DNA Horizonta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D04D017-FB7D-2B25-3289-67268F627633}"/>
              </a:ext>
            </a:extLst>
          </p:cNvPr>
          <p:cNvSpPr/>
          <p:nvPr userDrawn="1"/>
        </p:nvSpPr>
        <p:spPr>
          <a:xfrm flipV="1">
            <a:off x="-106325" y="-5991238"/>
            <a:ext cx="12395602" cy="12542800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4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Picture 7">
            <a:extLst>
              <a:ext uri="{FF2B5EF4-FFF2-40B4-BE49-F238E27FC236}">
                <a16:creationId xmlns:a16="http://schemas.microsoft.com/office/drawing/2014/main" id="{E8F9FC01-0D7A-8C8E-CB82-4E67429D424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rot="5048371" flipH="1">
            <a:off x="1822451" y="1808162"/>
            <a:ext cx="7956550" cy="40989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8C83AA-EF49-3671-052F-EAC96775A2A2}"/>
              </a:ext>
            </a:extLst>
          </p:cNvPr>
          <p:cNvSpPr/>
          <p:nvPr userDrawn="1"/>
        </p:nvSpPr>
        <p:spPr>
          <a:xfrm>
            <a:off x="0" y="-4763"/>
            <a:ext cx="12288838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5B744A-8375-16AD-1357-3C7F2F581FE0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F2CC31-19EA-0C5F-8639-9E58101202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B4CD40F-F71B-45BA-8A3C-26DCEEEC84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281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2D9C11D-C465-12BC-774A-1B934C27EDEF}"/>
              </a:ext>
            </a:extLst>
          </p:cNvPr>
          <p:cNvSpPr/>
          <p:nvPr/>
        </p:nvSpPr>
        <p:spPr>
          <a:xfrm>
            <a:off x="-13960" y="-6980"/>
            <a:ext cx="12250168" cy="116787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227177"/>
            <a:ext cx="10515600" cy="461811"/>
          </a:xfrm>
        </p:spPr>
        <p:txBody>
          <a:bodyPr lIns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1752" y="3570136"/>
            <a:ext cx="3185161" cy="267043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ü"/>
              <a:defRPr sz="1400" b="1"/>
            </a:lvl1pPr>
            <a:lvl2pPr marL="6858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3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8532" y="1395047"/>
            <a:ext cx="7624639" cy="48420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1752" y="640162"/>
            <a:ext cx="10515600" cy="332307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09BC0886-A86B-0A69-0F0B-1E15FE98560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08D0F-7750-463B-AC9A-F4159A1BC9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8176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39576C-CAC1-02CB-E471-B224BB8EFAFC}"/>
              </a:ext>
            </a:extLst>
          </p:cNvPr>
          <p:cNvSpPr/>
          <p:nvPr userDrawn="1"/>
        </p:nvSpPr>
        <p:spPr>
          <a:xfrm>
            <a:off x="-68365" y="-8547"/>
            <a:ext cx="12340126" cy="119088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2E91B8-6027-9282-1BBC-9535179BFF33}"/>
              </a:ext>
            </a:extLst>
          </p:cNvPr>
          <p:cNvSpPr/>
          <p:nvPr userDrawn="1"/>
        </p:nvSpPr>
        <p:spPr>
          <a:xfrm rot="10800000" flipV="1">
            <a:off x="5253038" y="1190625"/>
            <a:ext cx="7947025" cy="5302250"/>
          </a:xfrm>
          <a:prstGeom prst="rect">
            <a:avLst/>
          </a:prstGeom>
          <a:blipFill dpi="0" rotWithShape="1">
            <a:blip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E01A423-5110-90C2-B928-778DA9743A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CB9697-CE06-4A8A-ABF9-F9051108D2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5666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Conten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62958A-EAEC-BC88-584B-52316DF0C165}"/>
              </a:ext>
            </a:extLst>
          </p:cNvPr>
          <p:cNvSpPr/>
          <p:nvPr userDrawn="1"/>
        </p:nvSpPr>
        <p:spPr>
          <a:xfrm>
            <a:off x="-68365" y="-8547"/>
            <a:ext cx="12340126" cy="1709756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004F52-BD3C-FE20-2E07-FAE9D3C05853}"/>
              </a:ext>
            </a:extLst>
          </p:cNvPr>
          <p:cNvSpPr/>
          <p:nvPr userDrawn="1"/>
        </p:nvSpPr>
        <p:spPr>
          <a:xfrm rot="10800000" flipV="1">
            <a:off x="6018213" y="1701800"/>
            <a:ext cx="7181850" cy="4791075"/>
          </a:xfrm>
          <a:prstGeom prst="rect">
            <a:avLst/>
          </a:prstGeom>
          <a:blipFill dpi="0" rotWithShape="1">
            <a:blip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2063750"/>
            <a:ext cx="4937760" cy="3805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4880" y="402926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86E6CE1-17FE-2B92-1C7C-38822080C0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D8022F-D697-4D1E-A1B0-F13554F787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594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on DNA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29EE93-5340-7628-BD2E-D317EDCBA63A}"/>
              </a:ext>
            </a:extLst>
          </p:cNvPr>
          <p:cNvSpPr/>
          <p:nvPr userDrawn="1"/>
        </p:nvSpPr>
        <p:spPr>
          <a:xfrm>
            <a:off x="-77821" y="-2447924"/>
            <a:ext cx="3065327" cy="9391650"/>
          </a:xfrm>
          <a:prstGeom prst="rect">
            <a:avLst/>
          </a:prstGeom>
          <a:gradFill flip="none" rotWithShape="1">
            <a:gsLst>
              <a:gs pos="3000">
                <a:srgbClr val="10578D"/>
              </a:gs>
              <a:gs pos="81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Picture 7">
            <a:extLst>
              <a:ext uri="{FF2B5EF4-FFF2-40B4-BE49-F238E27FC236}">
                <a16:creationId xmlns:a16="http://schemas.microsoft.com/office/drawing/2014/main" id="{2C4F6255-EC7E-6649-6AD5-D679EACCAB35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rot="19562248">
            <a:off x="-755650" y="474663"/>
            <a:ext cx="3940175" cy="25749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F7A495-4420-B836-2229-D3EDA0012F62}"/>
              </a:ext>
            </a:extLst>
          </p:cNvPr>
          <p:cNvSpPr/>
          <p:nvPr userDrawn="1"/>
        </p:nvSpPr>
        <p:spPr>
          <a:xfrm>
            <a:off x="2987675" y="6494463"/>
            <a:ext cx="9204325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9310" y="389106"/>
            <a:ext cx="8614909" cy="58463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7091" y="3524978"/>
            <a:ext cx="2360467" cy="2451778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0E8DA4C-8931-6AA2-CB94-4D78BB1405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2525" y="6546850"/>
            <a:ext cx="541338" cy="2714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BD479C-3EBB-43E5-A5F6-AE64FC4D29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03363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rus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ED30DD6-CA7F-F98F-5A79-CFF7AE84E1C7}"/>
              </a:ext>
            </a:extLst>
          </p:cNvPr>
          <p:cNvSpPr/>
          <p:nvPr userDrawn="1"/>
        </p:nvSpPr>
        <p:spPr>
          <a:xfrm>
            <a:off x="-857249" y="-2057400"/>
            <a:ext cx="3460848" cy="8915400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78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997DA4-F82E-FD00-513E-E72ADE055533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20560728" flipH="1" flipV="1">
            <a:off x="-843715" y="-334783"/>
            <a:ext cx="2626786" cy="2903211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D6D9E0-E73A-99D7-1261-B81C944353E0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5400000" flipH="1" flipV="1">
            <a:off x="1378340" y="1817568"/>
            <a:ext cx="1241650" cy="1372313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719073F-42A5-1BC9-7CA4-3685F9641BE9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44328" t="14019"/>
          <a:stretch/>
        </p:blipFill>
        <p:spPr>
          <a:xfrm rot="12053022" flipH="1" flipV="1">
            <a:off x="286381" y="2898923"/>
            <a:ext cx="1029886" cy="1138264"/>
          </a:xfrm>
          <a:prstGeom prst="ellipse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85F827F-8126-4EF2-7301-03A1B2EC0D3B}"/>
              </a:ext>
            </a:extLst>
          </p:cNvPr>
          <p:cNvSpPr/>
          <p:nvPr userDrawn="1"/>
        </p:nvSpPr>
        <p:spPr>
          <a:xfrm>
            <a:off x="2603500" y="6494463"/>
            <a:ext cx="9588500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18382" y="36615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63446" y="3553619"/>
            <a:ext cx="2276705" cy="2442331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48CFE278-6CEC-06AC-585B-0CDD204F2B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E990FE-BE66-47B3-A6E1-CEB85F16C6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8417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urple DNA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A98165B-3E25-8B83-E6A3-A41816B4E7A8}"/>
              </a:ext>
            </a:extLst>
          </p:cNvPr>
          <p:cNvSpPr/>
          <p:nvPr userDrawn="1"/>
        </p:nvSpPr>
        <p:spPr>
          <a:xfrm>
            <a:off x="-152399" y="-3076575"/>
            <a:ext cx="2972382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D63A3C-5AEC-A0CF-5D08-BDCBBBAF5A74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 rot="4660426" flipH="1">
            <a:off x="-1636878" y="3078045"/>
            <a:ext cx="5348332" cy="340712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5" name="Picture 9">
            <a:extLst>
              <a:ext uri="{FF2B5EF4-FFF2-40B4-BE49-F238E27FC236}">
                <a16:creationId xmlns:a16="http://schemas.microsoft.com/office/drawing/2014/main" id="{EB8D559E-C514-0195-9CAA-F9B6CA608700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rot="15877198" flipH="1">
            <a:off x="-1735931" y="4782344"/>
            <a:ext cx="3584575" cy="228441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35B937-1F11-6F93-0F2D-DAB1439996DE}"/>
              </a:ext>
            </a:extLst>
          </p:cNvPr>
          <p:cNvSpPr/>
          <p:nvPr userDrawn="1"/>
        </p:nvSpPr>
        <p:spPr>
          <a:xfrm>
            <a:off x="2819400" y="-400050"/>
            <a:ext cx="9648825" cy="6897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2157E67-91BF-BAA5-C859-A11A513B4BCA}"/>
              </a:ext>
            </a:extLst>
          </p:cNvPr>
          <p:cNvSpPr/>
          <p:nvPr userDrawn="1"/>
        </p:nvSpPr>
        <p:spPr>
          <a:xfrm>
            <a:off x="2819400" y="6494463"/>
            <a:ext cx="9372600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2300" y="365124"/>
            <a:ext cx="8572500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60881" y="365124"/>
            <a:ext cx="2199923" cy="2540001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54284830-93A7-89C2-B789-60B72555B5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03224B-F706-42BF-B21C-C32480ADB9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7067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Content Vertic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CF98C2-0526-B81D-7940-9066D5B23919}"/>
              </a:ext>
            </a:extLst>
          </p:cNvPr>
          <p:cNvSpPr/>
          <p:nvPr userDrawn="1"/>
        </p:nvSpPr>
        <p:spPr>
          <a:xfrm>
            <a:off x="-152400" y="-3057525"/>
            <a:ext cx="3403599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z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F10819-85C5-22C6-959B-CF568A5AE137}"/>
              </a:ext>
            </a:extLst>
          </p:cNvPr>
          <p:cNvSpPr/>
          <p:nvPr userDrawn="1"/>
        </p:nvSpPr>
        <p:spPr>
          <a:xfrm>
            <a:off x="3236913" y="0"/>
            <a:ext cx="9231312" cy="6497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B8FE40-076D-E09D-CD3D-9106099A1BA6}"/>
              </a:ext>
            </a:extLst>
          </p:cNvPr>
          <p:cNvSpPr/>
          <p:nvPr userDrawn="1"/>
        </p:nvSpPr>
        <p:spPr>
          <a:xfrm>
            <a:off x="3236913" y="6494463"/>
            <a:ext cx="8955087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EE4078-1330-2622-3CBD-8DDF3D4A2755}"/>
              </a:ext>
            </a:extLst>
          </p:cNvPr>
          <p:cNvSpPr/>
          <p:nvPr userDrawn="1"/>
        </p:nvSpPr>
        <p:spPr>
          <a:xfrm rot="5400000">
            <a:off x="-1958975" y="4497388"/>
            <a:ext cx="6143625" cy="4098925"/>
          </a:xfrm>
          <a:prstGeom prst="rect">
            <a:avLst/>
          </a:prstGeom>
          <a:blipFill dpi="0" rotWithShape="1">
            <a:blip>
              <a:alphaModFix amt="4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BEA05D-19EC-59E7-46E7-A330AFA9DC89}"/>
              </a:ext>
            </a:extLst>
          </p:cNvPr>
          <p:cNvSpPr/>
          <p:nvPr userDrawn="1"/>
        </p:nvSpPr>
        <p:spPr>
          <a:xfrm rot="5400000" flipH="1" flipV="1">
            <a:off x="-1249363" y="-3486150"/>
            <a:ext cx="6143625" cy="4098926"/>
          </a:xfrm>
          <a:prstGeom prst="rect">
            <a:avLst/>
          </a:prstGeom>
          <a:blipFill dpi="0" rotWithShape="1">
            <a:blip>
              <a:alphaModFix amt="1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9810" y="365124"/>
            <a:ext cx="7674989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28019" y="1219200"/>
            <a:ext cx="2199923" cy="2209800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7887722-B95C-B000-E1DD-D7456060CD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D3BFC5-14DD-446D-BDBE-F49636307F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94390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Content Vertic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CF14A0-E225-7CEB-D575-E1E4B84FB721}"/>
              </a:ext>
            </a:extLst>
          </p:cNvPr>
          <p:cNvSpPr/>
          <p:nvPr userDrawn="1"/>
        </p:nvSpPr>
        <p:spPr>
          <a:xfrm>
            <a:off x="-1115785" y="-888274"/>
            <a:ext cx="3821468" cy="7765324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D9EFDC-66D5-CD16-25F2-D5F4B1285A44}"/>
              </a:ext>
            </a:extLst>
          </p:cNvPr>
          <p:cNvSpPr/>
          <p:nvPr userDrawn="1"/>
        </p:nvSpPr>
        <p:spPr>
          <a:xfrm rot="16200000" flipH="1" flipV="1">
            <a:off x="-2301875" y="-325438"/>
            <a:ext cx="6143626" cy="4098925"/>
          </a:xfrm>
          <a:prstGeom prst="rect">
            <a:avLst/>
          </a:prstGeom>
          <a:blipFill dpi="0" rotWithShape="1">
            <a:blip>
              <a:alphaModFix amt="2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14068D-9B1E-10D2-D6F5-2F55AEE5E84C}"/>
              </a:ext>
            </a:extLst>
          </p:cNvPr>
          <p:cNvSpPr/>
          <p:nvPr userDrawn="1"/>
        </p:nvSpPr>
        <p:spPr>
          <a:xfrm>
            <a:off x="2705100" y="0"/>
            <a:ext cx="9486900" cy="6877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DAE991-BD87-B8A4-000A-4D6662E436E9}"/>
              </a:ext>
            </a:extLst>
          </p:cNvPr>
          <p:cNvSpPr/>
          <p:nvPr userDrawn="1"/>
        </p:nvSpPr>
        <p:spPr>
          <a:xfrm>
            <a:off x="-114300" y="6502400"/>
            <a:ext cx="2819400" cy="365125"/>
          </a:xfrm>
          <a:prstGeom prst="rect">
            <a:avLst/>
          </a:prstGeom>
          <a:gradFill flip="none" rotWithShape="1">
            <a:gsLst>
              <a:gs pos="39000">
                <a:schemeClr val="accent5">
                  <a:lumMod val="20000"/>
                  <a:lumOff val="80000"/>
                </a:schemeClr>
              </a:gs>
              <a:gs pos="79000">
                <a:srgbClr val="10578D"/>
              </a:gs>
              <a:gs pos="100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2300" y="365124"/>
            <a:ext cx="8572500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7742" y="1724387"/>
            <a:ext cx="2199923" cy="2540001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807D30-13D9-5E16-B713-90C10C05E8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2414619-328D-4EE0-9CBC-667B19A9C4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53264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lain Content Vertic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142D2C8-D42E-0EAE-5F04-9842A91209C6}"/>
              </a:ext>
            </a:extLst>
          </p:cNvPr>
          <p:cNvSpPr/>
          <p:nvPr userDrawn="1"/>
        </p:nvSpPr>
        <p:spPr>
          <a:xfrm>
            <a:off x="-11875" y="-3057525"/>
            <a:ext cx="4038006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3F0D2F-8E6C-90AA-783A-93A765BD02B1}"/>
              </a:ext>
            </a:extLst>
          </p:cNvPr>
          <p:cNvSpPr/>
          <p:nvPr userDrawn="1"/>
        </p:nvSpPr>
        <p:spPr>
          <a:xfrm>
            <a:off x="4033838" y="6494463"/>
            <a:ext cx="8842375" cy="382587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2795A4-8DF7-7192-4D9F-D85D5EF3BBFD}"/>
              </a:ext>
            </a:extLst>
          </p:cNvPr>
          <p:cNvSpPr/>
          <p:nvPr userDrawn="1"/>
        </p:nvSpPr>
        <p:spPr>
          <a:xfrm rot="5400000">
            <a:off x="-883444" y="-754857"/>
            <a:ext cx="5767388" cy="4022726"/>
          </a:xfrm>
          <a:prstGeom prst="rect">
            <a:avLst/>
          </a:prstGeom>
          <a:blipFill>
            <a:blip>
              <a:alphaModFix amt="6000"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6641" y="526489"/>
            <a:ext cx="7299952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60881" y="365124"/>
            <a:ext cx="3288668" cy="2109135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CA85AE70-DCFC-9C45-7E29-D105DD9360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024569-44AF-4A43-A5EE-CA1854C619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284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 DNA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3">
            <a:extLst>
              <a:ext uri="{FF2B5EF4-FFF2-40B4-BE49-F238E27FC236}">
                <a16:creationId xmlns:a16="http://schemas.microsoft.com/office/drawing/2014/main" id="{7238584B-7759-52BB-E316-B107C48F40D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 rot="16200000" flipV="1">
            <a:off x="-1839119" y="1677193"/>
            <a:ext cx="6970713" cy="331470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5EF685-6579-417F-1CB7-87382D2E0C77}"/>
              </a:ext>
            </a:extLst>
          </p:cNvPr>
          <p:cNvSpPr/>
          <p:nvPr userDrawn="1"/>
        </p:nvSpPr>
        <p:spPr>
          <a:xfrm>
            <a:off x="2819982" y="-3441699"/>
            <a:ext cx="9372018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77492F-26AB-73DB-B8AE-EE660F6335D6}"/>
              </a:ext>
            </a:extLst>
          </p:cNvPr>
          <p:cNvSpPr/>
          <p:nvPr userDrawn="1"/>
        </p:nvSpPr>
        <p:spPr>
          <a:xfrm>
            <a:off x="2819400" y="6494463"/>
            <a:ext cx="9372600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B61FE445-4F78-FA6C-2D8A-C1DD8315E298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2957513" y="6546850"/>
            <a:ext cx="1209675" cy="2889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2186F0-5306-9CD2-24DE-FA6230E2C4A7}"/>
              </a:ext>
            </a:extLst>
          </p:cNvPr>
          <p:cNvSpPr/>
          <p:nvPr userDrawn="1"/>
        </p:nvSpPr>
        <p:spPr>
          <a:xfrm>
            <a:off x="-34925" y="6492875"/>
            <a:ext cx="12226925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2300" y="365124"/>
            <a:ext cx="8572500" cy="55598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08128" y="272042"/>
            <a:ext cx="2199923" cy="2507092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9B76709-CC5F-69B3-F071-2041C50DCF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3CA67D4-3917-4F73-9A6F-CE7994F461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5411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als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3">
            <a:extLst>
              <a:ext uri="{FF2B5EF4-FFF2-40B4-BE49-F238E27FC236}">
                <a16:creationId xmlns:a16="http://schemas.microsoft.com/office/drawing/2014/main" id="{620785F4-9B34-F0B8-41D1-337D6480E89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-2374900" y="-577850"/>
            <a:ext cx="6308725" cy="46640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4FC681-4720-3225-09AE-0CE97E5F0596}"/>
              </a:ext>
            </a:extLst>
          </p:cNvPr>
          <p:cNvSpPr/>
          <p:nvPr userDrawn="1"/>
        </p:nvSpPr>
        <p:spPr>
          <a:xfrm>
            <a:off x="2715905" y="-74427"/>
            <a:ext cx="9476096" cy="6987018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4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4720" y="365124"/>
            <a:ext cx="8260080" cy="55598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00754" y="3560932"/>
            <a:ext cx="2199923" cy="2507092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CC4CA6D3-B852-AC30-26FB-67B24E41FE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F7FAF7A-F375-4DEE-A2C0-1AD508C81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480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EE2455CF-EA49-1AE3-391E-E298C3D817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7E9121-9506-4403-96B3-F96887694A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015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9EFF51F-6B02-C5F7-83E9-44D2B46B0E6A}"/>
              </a:ext>
            </a:extLst>
          </p:cNvPr>
          <p:cNvSpPr/>
          <p:nvPr userDrawn="1"/>
        </p:nvSpPr>
        <p:spPr>
          <a:xfrm flipV="1">
            <a:off x="-58365" y="-116732"/>
            <a:ext cx="12289277" cy="6609606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763F7E8-BD1E-D624-BC73-0F5E00A338EB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AA80967-3D90-52D7-6338-24A3B379B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BC7F685-3DC0-4CFE-9182-D78D2EEEAA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1481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FC02F922-AF22-9E18-D008-2A8D73852C2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" t="297" b="72221"/>
          <a:stretch/>
        </p:blipFill>
        <p:spPr>
          <a:xfrm flipV="1">
            <a:off x="1087676" y="-1"/>
            <a:ext cx="10334544" cy="19033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691F1D-218E-1BB1-8F9A-677C5F63BD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19600" y="1531789"/>
            <a:ext cx="7272290" cy="1425393"/>
          </a:xfrm>
        </p:spPr>
        <p:txBody>
          <a:bodyPr anchor="b">
            <a:noAutofit/>
          </a:bodyPr>
          <a:lstStyle>
            <a:lvl1pPr algn="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D7C897-65E0-D167-265F-EE21F7E488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19600" y="3088740"/>
            <a:ext cx="7272290" cy="485020"/>
          </a:xfrm>
        </p:spPr>
        <p:txBody>
          <a:bodyPr>
            <a:normAutofit/>
          </a:bodyPr>
          <a:lstStyle>
            <a:lvl1pPr marL="0" indent="0" algn="r">
              <a:buNone/>
              <a:defRPr sz="18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2E9EBB-CB9B-70E4-A1FE-A10406935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4D8BE8BF-C7AC-4A1D-A66C-81DAA60E851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2"/>
          <a:stretch/>
        </p:blipFill>
        <p:spPr>
          <a:xfrm>
            <a:off x="0" y="-23727"/>
            <a:ext cx="9185366" cy="6858000"/>
          </a:xfrm>
          <a:prstGeom prst="rect">
            <a:avLst/>
          </a:prstGeom>
        </p:spPr>
      </p:pic>
      <p:pic>
        <p:nvPicPr>
          <p:cNvPr id="7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E3D2E07-A618-0508-DE44-FC07074EBC6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4" b="22723"/>
          <a:stretch/>
        </p:blipFill>
        <p:spPr>
          <a:xfrm flipH="1">
            <a:off x="-358065" y="-23727"/>
            <a:ext cx="7123814" cy="687807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49B80F7-2513-782A-C1A4-7481BE647363}"/>
              </a:ext>
            </a:extLst>
          </p:cNvPr>
          <p:cNvSpPr/>
          <p:nvPr/>
        </p:nvSpPr>
        <p:spPr>
          <a:xfrm>
            <a:off x="10952577" y="6492875"/>
            <a:ext cx="1213838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4693863-FAF7-0A6A-6316-08385E36C3DF}"/>
              </a:ext>
            </a:extLst>
          </p:cNvPr>
          <p:cNvCxnSpPr>
            <a:cxnSpLocks/>
          </p:cNvCxnSpPr>
          <p:nvPr/>
        </p:nvCxnSpPr>
        <p:spPr>
          <a:xfrm>
            <a:off x="2286000" y="3810000"/>
            <a:ext cx="9906000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bg2">
                    <a:alpha val="0"/>
                  </a:schemeClr>
                </a:gs>
                <a:gs pos="9000">
                  <a:schemeClr val="bg2"/>
                </a:gs>
                <a:gs pos="4500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B13783F-1C47-16FC-9428-43AAE1A1FB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910" y="4734197"/>
            <a:ext cx="3711759" cy="7693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56ABCAC-29D9-D5D7-487A-96D6E86E31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910" y="4734197"/>
            <a:ext cx="3711759" cy="76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3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ing &amp; Content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CDF0A-45F1-0AF8-5886-F09A9BE65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0529" y="1437911"/>
            <a:ext cx="11439888" cy="46348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BC7AD1-E920-2D7C-92A9-C9C592714346}"/>
              </a:ext>
            </a:extLst>
          </p:cNvPr>
          <p:cNvSpPr/>
          <p:nvPr/>
        </p:nvSpPr>
        <p:spPr>
          <a:xfrm>
            <a:off x="-9144" y="-9144"/>
            <a:ext cx="12207240" cy="113385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7E0DD3-6CEC-A273-E61B-1678E804C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854259E-F861-A706-E51C-EF5E305FD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6248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2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>
          <p15:clr>
            <a:srgbClr val="FBAE40"/>
          </p15:clr>
        </p15:guide>
        <p15:guide id="4" pos="192">
          <p15:clr>
            <a:srgbClr val="FBAE40"/>
          </p15:clr>
        </p15:guide>
        <p15:guide id="5" pos="7488">
          <p15:clr>
            <a:srgbClr val="FBAE40"/>
          </p15:clr>
        </p15:guide>
        <p15:guide id="6" orient="horz" pos="4152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heading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E57F03-ADCB-F86C-235E-86D624323D01}"/>
              </a:ext>
            </a:extLst>
          </p:cNvPr>
          <p:cNvSpPr/>
          <p:nvPr/>
        </p:nvSpPr>
        <p:spPr>
          <a:xfrm>
            <a:off x="-9144" y="-9144"/>
            <a:ext cx="12207240" cy="180200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7E0DD3-6CEC-A273-E61B-1678E804C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470" y="102016"/>
            <a:ext cx="11439888" cy="928390"/>
          </a:xfrm>
        </p:spPr>
        <p:txBody>
          <a:bodyPr lIns="0" anchor="b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CDF0A-45F1-0AF8-5886-F09A9BE65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0529" y="2272156"/>
            <a:ext cx="11439888" cy="3800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AFDBA2-345B-2747-A828-B0DE5DCEE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6828" y="1032229"/>
            <a:ext cx="11441112" cy="49194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0919370-C2F6-340F-1288-AACC44C3C8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6248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57388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Imag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E57F03-ADCB-F86C-235E-86D624323D01}"/>
              </a:ext>
            </a:extLst>
          </p:cNvPr>
          <p:cNvSpPr/>
          <p:nvPr/>
        </p:nvSpPr>
        <p:spPr>
          <a:xfrm>
            <a:off x="-9144" y="-9144"/>
            <a:ext cx="4572000" cy="6876288"/>
          </a:xfrm>
          <a:prstGeom prst="rect">
            <a:avLst/>
          </a:prstGeom>
          <a:gradFill flip="none" rotWithShape="1">
            <a:gsLst>
              <a:gs pos="19000">
                <a:srgbClr val="1C446F"/>
              </a:gs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7E0DD3-6CEC-A273-E61B-1678E804C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495" y="463463"/>
            <a:ext cx="3759516" cy="2010428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CDF0A-45F1-0AF8-5886-F09A9BE65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4860" y="859809"/>
            <a:ext cx="6535556" cy="5212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E695E-30C8-BCD7-3F29-CF3FAE1E7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6248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356028"/>
      </p:ext>
    </p:extLst>
  </p:cSld>
  <p:clrMapOvr>
    <a:masterClrMapping/>
  </p:clrMapOvr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41E73A3C-DBA6-980F-781B-2BA5FA1BE9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83439" y="-10477"/>
            <a:ext cx="12682728" cy="69402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BB1FE7-43EB-D6E9-00E0-C371AA92F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383" y="962630"/>
            <a:ext cx="6682132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96BA8C-A9DF-9298-889F-19A0670CB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8383" y="3842355"/>
            <a:ext cx="668213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68CAE51-FB50-189F-93F5-DEC64DEED5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2568" y="6656832"/>
            <a:ext cx="475488" cy="9855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97E382-8820-8A06-F5D2-9634C0A8D6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8304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80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3C3FBE-93EA-A555-9F28-49DD8C4FB51C}"/>
              </a:ext>
            </a:extLst>
          </p:cNvPr>
          <p:cNvSpPr/>
          <p:nvPr/>
        </p:nvSpPr>
        <p:spPr>
          <a:xfrm>
            <a:off x="0" y="0"/>
            <a:ext cx="3429000" cy="685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98E7B2-D131-244C-29DF-7D92A5B5B2EC}"/>
              </a:ext>
            </a:extLst>
          </p:cNvPr>
          <p:cNvSpPr/>
          <p:nvPr/>
        </p:nvSpPr>
        <p:spPr>
          <a:xfrm>
            <a:off x="-9144" y="-9144"/>
            <a:ext cx="12207240" cy="123423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0CA990-67D3-2671-D7DF-3530F4DF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27177"/>
            <a:ext cx="10515600" cy="461811"/>
          </a:xfrm>
        </p:spPr>
        <p:txBody>
          <a:bodyPr lIns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A096DF-4787-376F-77F1-0FFDC906E4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1919" y="3352800"/>
            <a:ext cx="3185161" cy="267043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ü"/>
              <a:defRPr sz="1400" b="1"/>
            </a:lvl1pPr>
            <a:lvl2pPr marL="511175" indent="-1698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300"/>
            </a:lvl2pPr>
            <a:lvl3pPr marL="688975" indent="-1158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3pPr>
            <a:lvl4pPr marL="914400" indent="-1158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4pPr>
            <a:lvl5pPr marL="1084263" indent="-1158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0F75719-C312-9E23-C5A9-F44CD337517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01752" y="640162"/>
            <a:ext cx="10515600" cy="332307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31BD2-3C73-2CAD-5E6C-E37FA79ED3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6248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1D2E7D-0957-32D8-75BA-DBDFE15016B4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03992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ing Only - White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EF8ED-BBD2-0FDB-CD27-6BF4F5753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49F95DF-3CDF-E9FF-F801-26990E8720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6248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0300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ing Only - Dark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36CF23D-041F-9E6A-827F-DD72BBE9732D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0">
                <a:srgbClr val="112F4D"/>
              </a:gs>
              <a:gs pos="43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1EF8ED-BBD2-0FDB-CD27-6BF4F5753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557" y="175577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2192C66-0C7F-E80F-7D78-9F547EC315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2568" y="6656832"/>
            <a:ext cx="475488" cy="9855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5237371-256B-F7C4-41AB-70B122203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6248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6E2497B-7F43-F1CA-A985-8922B04A47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2568" y="6656832"/>
            <a:ext cx="475488" cy="98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09864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98EB42-B334-DACA-9755-AAF6623691DC}"/>
              </a:ext>
            </a:extLst>
          </p:cNvPr>
          <p:cNvSpPr/>
          <p:nvPr/>
        </p:nvSpPr>
        <p:spPr>
          <a:xfrm>
            <a:off x="-13959" y="-6980"/>
            <a:ext cx="3472776" cy="693256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600" y="3045350"/>
            <a:ext cx="2364552" cy="270344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8817" y="357809"/>
            <a:ext cx="8346583" cy="5899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75C1DE0-BEA2-2EB0-3F79-C5E2A356CD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7025" y="6364288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C5BB2C8-265B-4828-8E8C-9EB3DCF8C82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5443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78F4D1-EE10-5014-9A53-C8B6F4985F82}"/>
              </a:ext>
            </a:extLst>
          </p:cNvPr>
          <p:cNvSpPr/>
          <p:nvPr/>
        </p:nvSpPr>
        <p:spPr>
          <a:xfrm>
            <a:off x="10656888" y="6265863"/>
            <a:ext cx="1535112" cy="592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447BE92B-6089-7D47-7E79-EED61F7AD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" y="6481763"/>
            <a:ext cx="573088" cy="11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B98DFA6-A93B-975D-5E2A-00BE1B62C5BC}"/>
              </a:ext>
            </a:extLst>
          </p:cNvPr>
          <p:cNvCxnSpPr>
            <a:cxnSpLocks/>
          </p:cNvCxnSpPr>
          <p:nvPr/>
        </p:nvCxnSpPr>
        <p:spPr>
          <a:xfrm>
            <a:off x="968375" y="6450013"/>
            <a:ext cx="0" cy="18256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7376D8D-72FC-0A6A-F1E4-471AEF0819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15900" y="6354763"/>
            <a:ext cx="11017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1EC983-5463-442C-AF70-C7B004ED96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91987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909806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E01741-1C57-B45D-1458-4CA83CC6FA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62F2637-9BC8-4F90-A235-DE724C125017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7F5B09-FEBD-EE98-1B17-7B18DA408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DA165A-1D7B-B7AA-2BF9-7D9C36AEA3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643EC-EB04-4D14-B81E-B0C9C0A14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77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D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AF4A36A-7FD2-1B47-DE14-D35D9DED7C79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0">
                <a:srgbClr val="112F4D"/>
              </a:gs>
              <a:gs pos="43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B1627A6-5CC4-37F9-14BB-357F3D81E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0100" y="6486525"/>
            <a:ext cx="573088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72B590-4A72-15BD-6392-28B372859455}"/>
              </a:ext>
            </a:extLst>
          </p:cNvPr>
          <p:cNvCxnSpPr>
            <a:cxnSpLocks/>
          </p:cNvCxnSpPr>
          <p:nvPr/>
        </p:nvCxnSpPr>
        <p:spPr>
          <a:xfrm>
            <a:off x="11609388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955" y="64964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8D7741E-6F14-A484-EFCA-D230FF3F51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93FD7D-3444-414A-BDD2-485D6CC3BF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359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13BCDB-B8BE-30D0-711A-0219A4D7C846}"/>
              </a:ext>
            </a:extLst>
          </p:cNvPr>
          <p:cNvSpPr/>
          <p:nvPr userDrawn="1"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0">
                <a:srgbClr val="112F4D"/>
              </a:gs>
              <a:gs pos="43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DAFF75F-9089-92B9-B515-2E9179486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" y="6486525"/>
            <a:ext cx="574675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231DE01-98BD-C158-AF14-D1AC5DDFA3E7}"/>
              </a:ext>
            </a:extLst>
          </p:cNvPr>
          <p:cNvCxnSpPr>
            <a:cxnSpLocks/>
          </p:cNvCxnSpPr>
          <p:nvPr/>
        </p:nvCxnSpPr>
        <p:spPr>
          <a:xfrm>
            <a:off x="950913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5809" y="136525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812480-35DF-9334-420B-56FA85F5C7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228600" y="6364288"/>
            <a:ext cx="15351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D1E5B1-12C8-4480-91B0-5C191F05FA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2759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E4B51F-958D-B6CA-49B0-E25A98218A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B9AC0B3-79C6-4695-A0D4-E50E71841BA0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93C62D-E9C1-FAED-864D-5292B89AB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DF8D39-3F0B-65E1-745A-C467313A9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29AD8-DBF8-44B0-9504-C22638049A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4587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05C283F5-43E2-3573-CE08-F8CB04B2C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" t="72221" b="298"/>
          <a:stretch>
            <a:fillRect/>
          </a:stretch>
        </p:blipFill>
        <p:spPr bwMode="auto">
          <a:xfrm>
            <a:off x="1087438" y="0"/>
            <a:ext cx="10334625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CA3DD2E1-481D-2C08-364B-5693826A56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2"/>
          <a:stretch>
            <a:fillRect/>
          </a:stretch>
        </p:blipFill>
        <p:spPr bwMode="auto">
          <a:xfrm>
            <a:off x="0" y="-23813"/>
            <a:ext cx="9185275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1A12845-FC8F-80F0-51CF-A29E03CDE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7443AFA-370F-5297-9B39-8EFE50E82168}"/>
              </a:ext>
            </a:extLst>
          </p:cNvPr>
          <p:cNvSpPr/>
          <p:nvPr/>
        </p:nvSpPr>
        <p:spPr>
          <a:xfrm>
            <a:off x="10952163" y="6492875"/>
            <a:ext cx="1214437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FA28C98-028D-1490-113E-18484E69C86A}"/>
              </a:ext>
            </a:extLst>
          </p:cNvPr>
          <p:cNvCxnSpPr>
            <a:cxnSpLocks/>
          </p:cNvCxnSpPr>
          <p:nvPr/>
        </p:nvCxnSpPr>
        <p:spPr>
          <a:xfrm>
            <a:off x="2286000" y="3818731"/>
            <a:ext cx="9906000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bg2">
                    <a:alpha val="0"/>
                  </a:schemeClr>
                </a:gs>
                <a:gs pos="9000">
                  <a:schemeClr val="bg2"/>
                </a:gs>
                <a:gs pos="4500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1">
            <a:extLst>
              <a:ext uri="{FF2B5EF4-FFF2-40B4-BE49-F238E27FC236}">
                <a16:creationId xmlns:a16="http://schemas.microsoft.com/office/drawing/2014/main" id="{DB935628-0A67-6F3A-7EE3-25B5C2068F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00" y="4733925"/>
            <a:ext cx="3711575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19600" y="1531789"/>
            <a:ext cx="7272290" cy="1425393"/>
          </a:xfrm>
        </p:spPr>
        <p:txBody>
          <a:bodyPr anchor="b">
            <a:noAutofit/>
          </a:bodyPr>
          <a:lstStyle>
            <a:lvl1pPr algn="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19600" y="3088740"/>
            <a:ext cx="7272290" cy="485020"/>
          </a:xfrm>
        </p:spPr>
        <p:txBody>
          <a:bodyPr>
            <a:normAutofit/>
          </a:bodyPr>
          <a:lstStyle>
            <a:lvl1pPr marL="0" indent="0" algn="r">
              <a:buNone/>
              <a:defRPr sz="18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E913D0-24BB-919E-B01D-89A907C953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028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&amp; Names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1171B9-0B44-6369-3DC8-07D680D80151}"/>
              </a:ext>
            </a:extLst>
          </p:cNvPr>
          <p:cNvSpPr/>
          <p:nvPr/>
        </p:nvSpPr>
        <p:spPr>
          <a:xfrm>
            <a:off x="-81116" y="-43804"/>
            <a:ext cx="12331284" cy="290230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272317A6-B56F-E6F6-18E0-E9C5FD3337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-23813"/>
            <a:ext cx="9199563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0D61331-A4CF-2ED7-46A2-3D3579300332}"/>
              </a:ext>
            </a:extLst>
          </p:cNvPr>
          <p:cNvSpPr/>
          <p:nvPr/>
        </p:nvSpPr>
        <p:spPr>
          <a:xfrm>
            <a:off x="10947400" y="648970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3E58819-2A2D-A233-DD29-3A9C2DECDE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839788" y="-23813"/>
            <a:ext cx="7124701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DFFC62-095C-D4E1-98F4-87DAF7B3B0F9}"/>
              </a:ext>
            </a:extLst>
          </p:cNvPr>
          <p:cNvCxnSpPr>
            <a:cxnSpLocks/>
          </p:cNvCxnSpPr>
          <p:nvPr/>
        </p:nvCxnSpPr>
        <p:spPr>
          <a:xfrm>
            <a:off x="2394857" y="2788444"/>
            <a:ext cx="9841351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1" descr="A blue and black logo&#10;&#10;Description automatically generated">
            <a:extLst>
              <a:ext uri="{FF2B5EF4-FFF2-40B4-BE49-F238E27FC236}">
                <a16:creationId xmlns:a16="http://schemas.microsoft.com/office/drawing/2014/main" id="{E2D9BB21-A5EC-5629-5173-3F732354B3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350" y="5281613"/>
            <a:ext cx="280193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4" y="310604"/>
            <a:ext cx="8788893" cy="1425393"/>
          </a:xfrm>
        </p:spPr>
        <p:txBody>
          <a:bodyPr anchor="b">
            <a:no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1675235"/>
            <a:ext cx="8788893" cy="48502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6778113" y="3100628"/>
            <a:ext cx="548148" cy="547159"/>
          </a:xfrm>
          <a:prstGeom prst="ellipse">
            <a:avLst/>
          </a:prstGeom>
          <a:ln w="6350">
            <a:solidFill>
              <a:schemeClr val="accent1"/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700"/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778113" y="3865192"/>
            <a:ext cx="548148" cy="547159"/>
          </a:xfrm>
          <a:prstGeom prst="ellipse">
            <a:avLst/>
          </a:prstGeom>
          <a:ln w="6350">
            <a:solidFill>
              <a:schemeClr val="accent1"/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700"/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778113" y="4629756"/>
            <a:ext cx="548148" cy="547159"/>
          </a:xfrm>
          <a:prstGeom prst="ellipse">
            <a:avLst/>
          </a:prstGeom>
          <a:ln w="6350">
            <a:solidFill>
              <a:schemeClr val="accent1"/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7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778113" y="5394320"/>
            <a:ext cx="548148" cy="547159"/>
          </a:xfrm>
          <a:prstGeom prst="ellipse">
            <a:avLst/>
          </a:prstGeom>
          <a:ln w="6350">
            <a:solidFill>
              <a:schemeClr val="accent1"/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7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778113" y="6158885"/>
            <a:ext cx="548148" cy="547159"/>
          </a:xfrm>
          <a:prstGeom prst="ellipse">
            <a:avLst/>
          </a:prstGeom>
          <a:ln w="6350">
            <a:solidFill>
              <a:schemeClr val="accent1"/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700"/>
            </a:lvl1pPr>
          </a:lstStyle>
          <a:p>
            <a:pPr lvl="0"/>
            <a:endParaRPr lang="en-US" noProof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7"/>
          </p:nvPr>
        </p:nvSpPr>
        <p:spPr>
          <a:xfrm>
            <a:off x="7584435" y="3100388"/>
            <a:ext cx="3303587" cy="547159"/>
          </a:xfrm>
        </p:spPr>
        <p:txBody>
          <a:bodyPr anchor="ctr">
            <a:noAutofit/>
          </a:bodyPr>
          <a:lstStyle>
            <a:lvl1pPr marL="0" indent="0">
              <a:buNone/>
              <a:defRPr sz="1100" b="1"/>
            </a:lvl1pPr>
            <a:lvl2pPr marL="0" indent="0">
              <a:buNone/>
              <a:defRPr sz="1050"/>
            </a:lvl2pPr>
            <a:lvl3pPr marL="914400" indent="0">
              <a:buNone/>
              <a:defRPr sz="1100"/>
            </a:lvl3pPr>
            <a:lvl4pPr marL="1371600" indent="0">
              <a:buNone/>
              <a:defRPr sz="1050"/>
            </a:lvl4pPr>
            <a:lvl5pPr marL="182880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7584435" y="3865012"/>
            <a:ext cx="3303587" cy="547159"/>
          </a:xfrm>
        </p:spPr>
        <p:txBody>
          <a:bodyPr anchor="ctr">
            <a:noAutofit/>
          </a:bodyPr>
          <a:lstStyle>
            <a:lvl1pPr marL="0" indent="0">
              <a:buNone/>
              <a:defRPr sz="1100" b="1"/>
            </a:lvl1pPr>
            <a:lvl2pPr marL="0" indent="0">
              <a:buNone/>
              <a:defRPr sz="1050"/>
            </a:lvl2pPr>
            <a:lvl3pPr marL="914400" indent="0">
              <a:buNone/>
              <a:defRPr sz="1100"/>
            </a:lvl3pPr>
            <a:lvl4pPr marL="1371600" indent="0">
              <a:buNone/>
              <a:defRPr sz="1050"/>
            </a:lvl4pPr>
            <a:lvl5pPr marL="182880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/>
          </p:nvPr>
        </p:nvSpPr>
        <p:spPr>
          <a:xfrm>
            <a:off x="7584435" y="4629636"/>
            <a:ext cx="3303587" cy="547159"/>
          </a:xfrm>
        </p:spPr>
        <p:txBody>
          <a:bodyPr anchor="ctr">
            <a:noAutofit/>
          </a:bodyPr>
          <a:lstStyle>
            <a:lvl1pPr marL="0" indent="0">
              <a:buNone/>
              <a:defRPr sz="1100" b="1"/>
            </a:lvl1pPr>
            <a:lvl2pPr marL="0" indent="0">
              <a:buNone/>
              <a:defRPr sz="1050"/>
            </a:lvl2pPr>
            <a:lvl3pPr marL="914400" indent="0">
              <a:buNone/>
              <a:defRPr sz="1100"/>
            </a:lvl3pPr>
            <a:lvl4pPr marL="1371600" indent="0">
              <a:buNone/>
              <a:defRPr sz="1050"/>
            </a:lvl4pPr>
            <a:lvl5pPr marL="182880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7584435" y="5394260"/>
            <a:ext cx="3303587" cy="547159"/>
          </a:xfrm>
        </p:spPr>
        <p:txBody>
          <a:bodyPr anchor="ctr">
            <a:noAutofit/>
          </a:bodyPr>
          <a:lstStyle>
            <a:lvl1pPr marL="0" indent="0">
              <a:buNone/>
              <a:defRPr sz="1100" b="1"/>
            </a:lvl1pPr>
            <a:lvl2pPr marL="0" indent="0">
              <a:buNone/>
              <a:defRPr sz="1050"/>
            </a:lvl2pPr>
            <a:lvl3pPr marL="914400" indent="0">
              <a:buNone/>
              <a:defRPr sz="1100"/>
            </a:lvl3pPr>
            <a:lvl4pPr marL="1371600" indent="0">
              <a:buNone/>
              <a:defRPr sz="1050"/>
            </a:lvl4pPr>
            <a:lvl5pPr marL="182880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1"/>
          </p:nvPr>
        </p:nvSpPr>
        <p:spPr>
          <a:xfrm>
            <a:off x="7584435" y="6158885"/>
            <a:ext cx="3303587" cy="547159"/>
          </a:xfrm>
        </p:spPr>
        <p:txBody>
          <a:bodyPr anchor="ctr">
            <a:noAutofit/>
          </a:bodyPr>
          <a:lstStyle>
            <a:lvl1pPr marL="0" indent="0">
              <a:buNone/>
              <a:defRPr sz="1100" b="1"/>
            </a:lvl1pPr>
            <a:lvl2pPr marL="0" indent="0">
              <a:buNone/>
              <a:defRPr sz="1050"/>
            </a:lvl2pPr>
            <a:lvl3pPr marL="914400" indent="0">
              <a:buNone/>
              <a:defRPr sz="1100"/>
            </a:lvl3pPr>
            <a:lvl4pPr marL="1371600" indent="0">
              <a:buNone/>
              <a:defRPr sz="1050"/>
            </a:lvl4pPr>
            <a:lvl5pPr marL="1828800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29353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ED84429-AB89-0EDA-D1F8-0D532A76B889}"/>
              </a:ext>
            </a:extLst>
          </p:cNvPr>
          <p:cNvSpPr/>
          <p:nvPr/>
        </p:nvSpPr>
        <p:spPr>
          <a:xfrm>
            <a:off x="-81116" y="-79901"/>
            <a:ext cx="12331284" cy="4140311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5DC35AE3-FB7F-4227-5CAC-0E3812C557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-23813"/>
            <a:ext cx="9199563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48D8837-A20F-5684-57DA-83461D23E279}"/>
              </a:ext>
            </a:extLst>
          </p:cNvPr>
          <p:cNvSpPr/>
          <p:nvPr/>
        </p:nvSpPr>
        <p:spPr>
          <a:xfrm>
            <a:off x="10947400" y="648970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7895859-7411-80DD-C2F4-A6BAD38F2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5BA68F-7504-B7C7-B602-1E67EC8B82A3}"/>
              </a:ext>
            </a:extLst>
          </p:cNvPr>
          <p:cNvCxnSpPr>
            <a:cxnSpLocks/>
          </p:cNvCxnSpPr>
          <p:nvPr/>
        </p:nvCxnSpPr>
        <p:spPr>
          <a:xfrm>
            <a:off x="2350649" y="4123531"/>
            <a:ext cx="9841351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1" descr="A blue and black logo&#10;&#10;Description automatically generated">
            <a:extLst>
              <a:ext uri="{FF2B5EF4-FFF2-40B4-BE49-F238E27FC236}">
                <a16:creationId xmlns:a16="http://schemas.microsoft.com/office/drawing/2014/main" id="{1BE79C68-EFBA-DC50-2D07-87BC7CFEB2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0438" y="5091113"/>
            <a:ext cx="3227387" cy="66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9836" y="876867"/>
            <a:ext cx="8788893" cy="1425393"/>
          </a:xfrm>
        </p:spPr>
        <p:txBody>
          <a:bodyPr anchor="b">
            <a:no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9836" y="2598362"/>
            <a:ext cx="8788893" cy="48502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C7F3D78-AC49-E8C4-8434-17631761CD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23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01DC1912-9B46-7CA7-9FE7-01F9A1B426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" t="72221" b="298"/>
          <a:stretch>
            <a:fillRect/>
          </a:stretch>
        </p:blipFill>
        <p:spPr bwMode="auto">
          <a:xfrm>
            <a:off x="1087438" y="0"/>
            <a:ext cx="10334625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E15C7430-2155-A658-45DD-B691CF60C9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2"/>
          <a:stretch>
            <a:fillRect/>
          </a:stretch>
        </p:blipFill>
        <p:spPr bwMode="auto">
          <a:xfrm>
            <a:off x="0" y="-23813"/>
            <a:ext cx="9185275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759B4849-5DC4-E9E1-1D89-6BDEE30325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4064BF10-A32F-7BC6-5A6C-2D7E6A8FC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8252" y="4397292"/>
            <a:ext cx="3714798" cy="1114804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E046C57-CF34-F14D-D7B5-30CA4FDD42D0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0AC869-3D3E-DE24-DDE5-479552FE64F0}"/>
              </a:ext>
            </a:extLst>
          </p:cNvPr>
          <p:cNvCxnSpPr>
            <a:cxnSpLocks/>
          </p:cNvCxnSpPr>
          <p:nvPr/>
        </p:nvCxnSpPr>
        <p:spPr>
          <a:xfrm>
            <a:off x="2485748" y="2855913"/>
            <a:ext cx="9706252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bg2">
                    <a:alpha val="0"/>
                  </a:schemeClr>
                </a:gs>
                <a:gs pos="9000">
                  <a:schemeClr val="bg2"/>
                </a:gs>
                <a:gs pos="4500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02997" y="357763"/>
            <a:ext cx="8788893" cy="1425393"/>
          </a:xfrm>
        </p:spPr>
        <p:txBody>
          <a:bodyPr anchor="b">
            <a:noAutofit/>
          </a:bodyPr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09977" y="1803829"/>
            <a:ext cx="8788893" cy="485020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B235F22-C624-F289-AC8F-3EA285800D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BF4E4559-569D-4BDC-B183-22EAA768659C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8D3DC88-6292-0B94-603F-43CDB2C9F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486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3C35BCD-9AB9-5A47-CBB2-54548703F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3AEBBF-C2F3-35E8-A638-3230B188D10C}"/>
              </a:ext>
            </a:extLst>
          </p:cNvPr>
          <p:cNvSpPr>
            <a:spLocks/>
          </p:cNvSpPr>
          <p:nvPr/>
        </p:nvSpPr>
        <p:spPr>
          <a:xfrm>
            <a:off x="-73742" y="-73742"/>
            <a:ext cx="12323910" cy="4806030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73147E93-D87C-1CEC-B4BE-B4DCCDD43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 b="31244"/>
          <a:stretch>
            <a:fillRect/>
          </a:stretch>
        </p:blipFill>
        <p:spPr bwMode="auto">
          <a:xfrm>
            <a:off x="-14288" y="0"/>
            <a:ext cx="91995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96F79B-C5D6-2316-DEE9-7F429E01A254}"/>
              </a:ext>
            </a:extLst>
          </p:cNvPr>
          <p:cNvSpPr/>
          <p:nvPr/>
        </p:nvSpPr>
        <p:spPr>
          <a:xfrm>
            <a:off x="10820400" y="6477000"/>
            <a:ext cx="1214438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CD32305-8A79-49F2-3A2A-18333D822C5A}"/>
              </a:ext>
            </a:extLst>
          </p:cNvPr>
          <p:cNvCxnSpPr>
            <a:cxnSpLocks/>
          </p:cNvCxnSpPr>
          <p:nvPr/>
        </p:nvCxnSpPr>
        <p:spPr>
          <a:xfrm>
            <a:off x="2162175" y="466645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8F19C43-BF2D-05C9-D4D3-E6BCA24A50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3F78F1D2-BBA8-56B3-01AB-04A5D1F90E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" y="5121275"/>
            <a:ext cx="4387850" cy="146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3352800" y="748277"/>
            <a:ext cx="8613322" cy="1645697"/>
          </a:xfrm>
        </p:spPr>
        <p:txBody>
          <a:bodyPr anchor="b">
            <a:noAutofit/>
          </a:bodyPr>
          <a:lstStyle>
            <a:lvl1pPr algn="ctr">
              <a:defRPr lang="en-US" sz="32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3361943" y="2819400"/>
            <a:ext cx="8613323" cy="1270367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477000" y="5181600"/>
            <a:ext cx="5105400" cy="381000"/>
          </a:xfrm>
        </p:spPr>
        <p:txBody>
          <a:bodyPr>
            <a:normAutofit/>
          </a:bodyPr>
          <a:lstStyle>
            <a:lvl1pPr marL="0" indent="0" algn="r">
              <a:buNone/>
              <a:defRPr sz="18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77000" y="5559283"/>
            <a:ext cx="5105400" cy="381000"/>
          </a:xfrm>
        </p:spPr>
        <p:txBody>
          <a:bodyPr>
            <a:normAutofit/>
          </a:bodyPr>
          <a:lstStyle>
            <a:lvl1pPr marL="0" indent="0" algn="r">
              <a:buNone/>
              <a:defRPr sz="1400">
                <a:solidFill>
                  <a:schemeClr val="accent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52067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ing &amp; Content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4EF5397-6A84-390B-DC62-0DB0561DE8F4}"/>
              </a:ext>
            </a:extLst>
          </p:cNvPr>
          <p:cNvSpPr/>
          <p:nvPr/>
        </p:nvSpPr>
        <p:spPr>
          <a:xfrm>
            <a:off x="-9144" y="-9144"/>
            <a:ext cx="12207240" cy="113385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1437911"/>
            <a:ext cx="11439888" cy="46348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C39A85-7BDC-D86B-6CAA-FB6124FC9A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008A1238-2883-4FF3-AB29-1327D3A9EC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7491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ing &amp; Content - L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2381BF7-BF2D-B4A3-0DFF-5D1AA89DD46F}"/>
              </a:ext>
            </a:extLst>
          </p:cNvPr>
          <p:cNvSpPr/>
          <p:nvPr userDrawn="1"/>
        </p:nvSpPr>
        <p:spPr>
          <a:xfrm>
            <a:off x="10977563" y="6492875"/>
            <a:ext cx="1214437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57F5591F-7B6E-35DA-408D-6907A8D45A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6656388"/>
            <a:ext cx="4730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81DBC95-0DD3-D060-DC47-16F35E5857E3}"/>
              </a:ext>
            </a:extLst>
          </p:cNvPr>
          <p:cNvSpPr/>
          <p:nvPr userDrawn="1"/>
        </p:nvSpPr>
        <p:spPr>
          <a:xfrm>
            <a:off x="-9144" y="-9144"/>
            <a:ext cx="12207240" cy="113385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3"/>
                </a:gs>
                <a:gs pos="56000">
                  <a:schemeClr val="accent2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1437911"/>
            <a:ext cx="11439888" cy="46348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1C31FE-CB31-FE98-F51A-119B7A57EA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11163" y="6565900"/>
            <a:ext cx="381000" cy="215900"/>
          </a:xfrm>
        </p:spPr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BCA1DE1A-C76A-463A-8F55-82A9842C43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26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ing &amp; Content Vial background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A group of bottles on a table&#10;&#10;Description automatically generated">
            <a:extLst>
              <a:ext uri="{FF2B5EF4-FFF2-40B4-BE49-F238E27FC236}">
                <a16:creationId xmlns:a16="http://schemas.microsoft.com/office/drawing/2014/main" id="{7C4039E5-F614-F5DD-CB6A-B07584EBA1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26" r="9116"/>
          <a:stretch>
            <a:fillRect/>
          </a:stretch>
        </p:blipFill>
        <p:spPr bwMode="auto">
          <a:xfrm>
            <a:off x="-100013" y="1117600"/>
            <a:ext cx="12392026" cy="574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13F326C-56CE-47DC-8E2B-1CAE75750567}"/>
              </a:ext>
            </a:extLst>
          </p:cNvPr>
          <p:cNvSpPr/>
          <p:nvPr userDrawn="1"/>
        </p:nvSpPr>
        <p:spPr>
          <a:xfrm>
            <a:off x="-144463" y="1117600"/>
            <a:ext cx="12465051" cy="5722938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  <a:alpha val="73000"/>
                </a:schemeClr>
              </a:gs>
              <a:gs pos="100000">
                <a:schemeClr val="bg2">
                  <a:lumMod val="60000"/>
                  <a:lumOff val="40000"/>
                  <a:alpha val="73000"/>
                </a:schemeClr>
              </a:gs>
              <a:gs pos="20000">
                <a:schemeClr val="bg2">
                  <a:alpha val="72000"/>
                </a:schemeClr>
              </a:gs>
              <a:gs pos="68000">
                <a:schemeClr val="bg2">
                  <a:alpha val="72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8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76CDB3A2-6123-62C7-F347-BC15DB0389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4600" y="6656388"/>
            <a:ext cx="471488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D261608-7AB4-93ED-6D2E-53DA77025DF9}"/>
              </a:ext>
            </a:extLst>
          </p:cNvPr>
          <p:cNvSpPr/>
          <p:nvPr userDrawn="1"/>
        </p:nvSpPr>
        <p:spPr>
          <a:xfrm>
            <a:off x="-9144" y="-9144"/>
            <a:ext cx="12207240" cy="113385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16768" y="1864895"/>
            <a:ext cx="8722896" cy="420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2B1462D-4F48-70D6-E59C-FA3A00A855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E6931271-A33E-4EAC-AFF4-DB731A8483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087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heading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BCE1DB3-2D48-F0B4-E772-B1F20D1D9472}"/>
              </a:ext>
            </a:extLst>
          </p:cNvPr>
          <p:cNvSpPr/>
          <p:nvPr/>
        </p:nvSpPr>
        <p:spPr>
          <a:xfrm>
            <a:off x="-9144" y="-9144"/>
            <a:ext cx="12207240" cy="180200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70" y="102016"/>
            <a:ext cx="11439888" cy="928390"/>
          </a:xfrm>
        </p:spPr>
        <p:txBody>
          <a:bodyPr lIns="0" anchor="b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2272156"/>
            <a:ext cx="11439888" cy="3800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6828" y="1032229"/>
            <a:ext cx="11441112" cy="49194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7FCD5F4-4D71-DAA9-019F-2078C2F3AE2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780013AC-E64B-43D1-8491-913D6EF371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764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Imag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9677C07-ED24-C908-388C-30D99D9E5209}"/>
              </a:ext>
            </a:extLst>
          </p:cNvPr>
          <p:cNvSpPr/>
          <p:nvPr/>
        </p:nvSpPr>
        <p:spPr>
          <a:xfrm>
            <a:off x="-9144" y="-9144"/>
            <a:ext cx="4572000" cy="6876288"/>
          </a:xfrm>
          <a:prstGeom prst="rect">
            <a:avLst/>
          </a:prstGeom>
          <a:gradFill flip="none" rotWithShape="1">
            <a:gsLst>
              <a:gs pos="19000">
                <a:srgbClr val="1C446F"/>
              </a:gs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599" y="3665128"/>
            <a:ext cx="3652001" cy="2083665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4860" y="859809"/>
            <a:ext cx="6535556" cy="5212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9144" y="-9144"/>
            <a:ext cx="4572000" cy="3202016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7B8CEA-CD2F-89B6-611F-8AF80B32DE6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812B78DF-51B1-478E-8452-7DC45945B0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31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ing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AB55012-3B5E-BA1D-D1EF-97FD4096E4DE}"/>
              </a:ext>
            </a:extLst>
          </p:cNvPr>
          <p:cNvSpPr/>
          <p:nvPr/>
        </p:nvSpPr>
        <p:spPr>
          <a:xfrm>
            <a:off x="-9144" y="-9144"/>
            <a:ext cx="3143865" cy="687628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600" y="3045350"/>
            <a:ext cx="2364552" cy="270344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1400" y="357809"/>
            <a:ext cx="8224000" cy="5899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A793389-E6AB-E446-B54E-B124D0E10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4EFDE3D2-3FE6-4CEE-8240-02A16431A8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6794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0C2F8ECE-4091-0B62-4262-FC3A478F7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1113"/>
            <a:ext cx="12684126" cy="694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8AA8408-6230-5745-9E4B-CF9B8AB779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3013" y="6656388"/>
            <a:ext cx="474662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383" y="962630"/>
            <a:ext cx="6682132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8383" y="3842355"/>
            <a:ext cx="668213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B996B-B005-2699-7548-6789170D6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869E4D89-3B21-4F1C-B516-4EF81E275F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5611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FF06D-12DE-51EB-D439-331807009FD7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104C95-9FA9-0342-0F57-5BF2406F3A3E}"/>
              </a:ext>
            </a:extLst>
          </p:cNvPr>
          <p:cNvSpPr/>
          <p:nvPr/>
        </p:nvSpPr>
        <p:spPr>
          <a:xfrm>
            <a:off x="-9144" y="-9144"/>
            <a:ext cx="12207240" cy="123423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227177"/>
            <a:ext cx="10515600" cy="461811"/>
          </a:xfrm>
        </p:spPr>
        <p:txBody>
          <a:bodyPr lIns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919" y="3352800"/>
            <a:ext cx="3185161" cy="267043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ü"/>
              <a:defRPr sz="1400" b="1"/>
            </a:lvl1pPr>
            <a:lvl2pPr marL="511175" indent="-1698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300"/>
            </a:lvl2pPr>
            <a:lvl3pPr marL="688975" indent="-1158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3pPr>
            <a:lvl4pPr marL="914400" indent="-1158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4pPr>
            <a:lvl5pPr marL="1084263" indent="-1158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1752" y="640162"/>
            <a:ext cx="10515600" cy="332307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0AEC5B-551F-50DF-8F1A-27F45395D74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639A9536-0771-414E-B7EE-3496350802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1606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ing Only - White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6AA4A6F-5F21-A4F4-3E87-9C4FB7F52C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91258317-1DF9-40CD-8FE9-66C034EDF6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3491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 No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A37B8F-1498-30B4-A1C7-5A65733D7D4B}"/>
              </a:ext>
            </a:extLst>
          </p:cNvPr>
          <p:cNvSpPr/>
          <p:nvPr/>
        </p:nvSpPr>
        <p:spPr>
          <a:xfrm>
            <a:off x="-13960" y="-6981"/>
            <a:ext cx="12250168" cy="3951964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54D51B1C-0AF7-0EA4-5C0A-AA5996768E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0"/>
            <a:ext cx="91995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69C7DC9-BC2F-06FF-DD56-46D39F7FA9D3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BEA963-2185-177B-4996-EAF3B58F0F3E}"/>
              </a:ext>
            </a:extLst>
          </p:cNvPr>
          <p:cNvCxnSpPr>
            <a:cxnSpLocks/>
          </p:cNvCxnSpPr>
          <p:nvPr/>
        </p:nvCxnSpPr>
        <p:spPr>
          <a:xfrm>
            <a:off x="2171700" y="3898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25F2A0C-640C-55E9-9C70-05AAB29CC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9525"/>
            <a:ext cx="71247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4ACFD430-0D59-0713-758D-BCE6CDE318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8781" y="4803002"/>
            <a:ext cx="4361276" cy="1308811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576072"/>
            <a:ext cx="8613322" cy="1645697"/>
          </a:xfrm>
        </p:spPr>
        <p:txBody>
          <a:bodyPr anchor="b">
            <a:noAutofit/>
          </a:bodyPr>
          <a:lstStyle>
            <a:lvl1pPr algn="ctr">
              <a:defRPr lang="en-US" sz="5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2221769"/>
            <a:ext cx="8613323" cy="1270367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2391C79-A4F4-E6D8-9CEE-1F355B615F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71463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6293BC2A-A857-46A5-8754-EB57AC07B6F1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D7BB29B-7669-068A-00AC-3EB07418E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23213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6515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ing Only - White - L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142BB0A-EBE1-577A-54D5-7F0632AFD7DA}"/>
              </a:ext>
            </a:extLst>
          </p:cNvPr>
          <p:cNvSpPr/>
          <p:nvPr/>
        </p:nvSpPr>
        <p:spPr>
          <a:xfrm>
            <a:off x="10656888" y="6265863"/>
            <a:ext cx="1535112" cy="592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04373823-F64A-3665-1969-000EE4D427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6656388"/>
            <a:ext cx="4730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4DA391D-B6C4-2ED7-E4A2-07D93C8979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11163" y="6565900"/>
            <a:ext cx="381000" cy="215900"/>
          </a:xfrm>
        </p:spPr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A657C9F3-8800-4C5E-970B-3CAC3ECBDD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3870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ing Only - Dark - R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275CED-47B9-E212-6956-FAC18BDC9434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0">
                <a:srgbClr val="112F4D"/>
              </a:gs>
              <a:gs pos="43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57DB4FE-3DE1-94F7-3275-9C4C378B72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3013" y="6656388"/>
            <a:ext cx="474662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557" y="175577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2AD42AF-AFCE-3713-E9F3-BB468E581F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5C593E13-C558-4DA4-B79E-E6FE9101DF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1027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 - Dark - L,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735051-93D2-4379-3052-3A50032B12F5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18000">
                <a:srgbClr val="1A4069"/>
              </a:gs>
              <a:gs pos="0">
                <a:schemeClr val="accent5"/>
              </a:gs>
              <a:gs pos="66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2ABE07D-19B1-F46E-E2B2-0336D826B0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6656388"/>
            <a:ext cx="474663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35305" y="166021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D26790-F29D-534E-F2AC-85D3F8A1EE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11163" y="6565900"/>
            <a:ext cx="381000" cy="215900"/>
          </a:xfrm>
        </p:spPr>
        <p:txBody>
          <a:bodyPr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3AF86996-E241-4710-86A4-F03852F3DF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9381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11A68-19FC-B3C8-C149-FAD9370152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41A2AB-ACB7-C371-5013-750B2F036B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E05555-EE3F-544B-BDAD-269A4AED6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B5F384-6FA1-0C3A-DDE7-EC558A012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166DD-00C4-35E7-E351-4CCB4792D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4277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77CEF-D72A-DD77-578B-903C43062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119E44-895C-62D5-EEAA-2362723631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464672-7CD7-C30B-8960-6626A3C51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9F6676-AC85-4D3E-8C3F-8EAE7D0AF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3A9395-EB95-16DA-E899-93A050D51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0892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3E1DC-BFB6-AEF7-B3BF-363650E52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2AF11F-CDF9-099F-F4BC-641C0E6EFF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CF0F4-B20C-E1C4-8DAA-08A4783B4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E2D2B-6252-EED7-D81B-612A573E2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8E37B7-E9AC-A105-52B4-5AB0C4130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0530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91904-AA40-5047-362A-7F750181D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BDE198-A217-EF1E-4D8D-384ABD28F3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286F3A-AF55-8FA4-3D83-1A3F89CF56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1ED72C-BB99-5BDC-43DF-7B510F4DC3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CBEA46-D371-BE4F-7EE3-DB72248DC4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8F49C7-7E6A-DA95-D29B-EA7B7893F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711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F1588-81E1-3C0F-1013-B59D1A1BBC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A9DB39-C2F4-7DC2-999A-1FC3209C77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EF9370-A7CD-0E91-229F-F8DF65E92A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F1A842-3388-2DF0-F0B4-511ACE3DC1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BDBBD9-2451-9DC0-675D-DCF3B92C19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4CBA0B8-C433-50FB-FE4B-4212848461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FAD9B1-FC34-7534-4CDE-6BB4DC965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34023C-4F25-4F60-13E3-F6C537904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8625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7DCD5F-1657-2BA5-067A-5C6E5EB35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508EFF-E022-0B73-6CFD-72D525E91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465746-F813-FA44-6B69-443C45F2A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AC073-9919-9ACE-DD75-A84F76565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6393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ECA7B3-C255-3D5E-2CE0-C9F37110F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C7CB95-374B-6D57-B73D-D73DF1CCC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BC8065-CDF1-2D5A-B58B-6E4B3D735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288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Conf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BA0B5AF-C010-9FA8-0675-6218B02D2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1119F8-E61A-18B7-BAF1-87BC4A1AFC85}"/>
              </a:ext>
            </a:extLst>
          </p:cNvPr>
          <p:cNvSpPr>
            <a:spLocks/>
          </p:cNvSpPr>
          <p:nvPr/>
        </p:nvSpPr>
        <p:spPr>
          <a:xfrm>
            <a:off x="-13960" y="-17413"/>
            <a:ext cx="12250168" cy="473228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8D799233-288B-FCDE-2FC0-03F7A8C5FF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 b="31244"/>
          <a:stretch>
            <a:fillRect/>
          </a:stretch>
        </p:blipFill>
        <p:spPr bwMode="auto">
          <a:xfrm>
            <a:off x="-14288" y="0"/>
            <a:ext cx="91995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3E43272-0930-13E8-C610-ED4E346DE4DD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C12AD1-C176-0269-E26C-FD8C6820525D}"/>
              </a:ext>
            </a:extLst>
          </p:cNvPr>
          <p:cNvCxnSpPr>
            <a:cxnSpLocks/>
          </p:cNvCxnSpPr>
          <p:nvPr/>
        </p:nvCxnSpPr>
        <p:spPr>
          <a:xfrm>
            <a:off x="2162175" y="4660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4F327E1-DE84-6D55-C2D8-5CFB5D06C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3A1E2FE8-F390-A369-295E-902999B26D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153" y="5223528"/>
            <a:ext cx="4179325" cy="1254207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287595"/>
            <a:ext cx="8613322" cy="2551467"/>
          </a:xfrm>
        </p:spPr>
        <p:txBody>
          <a:bodyPr>
            <a:noAutofit/>
          </a:bodyPr>
          <a:lstStyle>
            <a:lvl1pPr algn="l">
              <a:lnSpc>
                <a:spcPts val="4700"/>
              </a:lnSpc>
              <a:defRPr lang="en-US" sz="4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68283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D0631-E780-F6F7-0F4C-4117ADE9A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7B2245-7F21-8B9D-00D4-B025D0546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391C02-BDC2-1B20-3453-4FE2A3E20D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B5295-6630-09DF-6567-48453002C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9402C-C8F9-4211-E09F-CA1D1BE2B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22AB02-412F-60CC-AF4D-2B4BCCE4A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581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05EF-B16B-05A0-793F-115A16C57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29F3DF-9DF6-E182-35A4-6E2EA00F24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78D7D6-BE31-5760-3402-CF43AFAB70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3C66ED-8257-764A-E41B-37EE2FE0E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1E0153-EBD1-73C0-2038-5696C92CA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3142B-7F9A-EB01-BBD6-8A7639DC9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4553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C4B88-F39D-BF1A-B481-42B735DCA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87D686-2A3B-1532-00E0-80B3373C75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A553A6-6F62-8B38-8721-6FE69E256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D65F5D-703B-3395-4B9B-D5D01B6BE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053643-32B1-8650-69AF-97C642C3E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278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29B6DE0-0026-EC7B-1FFD-3B315BE1827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2C4B70-5D20-12DA-FB3B-A188CCA6DD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885301-65B2-2891-C5B7-F495E0D343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D3B286-C108-FCC7-AA20-5EE9FD57C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67EF6F-00CD-9488-DEA3-8415DB21C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3121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FCC126-296D-35E7-4145-25B62C1AF15A}"/>
              </a:ext>
            </a:extLst>
          </p:cNvPr>
          <p:cNvSpPr/>
          <p:nvPr/>
        </p:nvSpPr>
        <p:spPr>
          <a:xfrm>
            <a:off x="-13960" y="-6981"/>
            <a:ext cx="12250168" cy="315893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C81A1A34-8F05-5292-CFF9-4C0E333F5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-23813"/>
            <a:ext cx="9199563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24D769B-7B64-CE2C-B8BD-E3BB10A6D7C5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E52F2F0-1984-E539-58BB-2795BB3E7D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50D5422-5E41-BBD2-4BA4-2228A0BBF40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7470"/>
          <a:stretch/>
        </p:blipFill>
        <p:spPr>
          <a:xfrm>
            <a:off x="938252" y="4397292"/>
            <a:ext cx="3714798" cy="808566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BAC969-2C06-411C-112A-2F5775139FD8}"/>
              </a:ext>
            </a:extLst>
          </p:cNvPr>
          <p:cNvCxnSpPr>
            <a:cxnSpLocks/>
          </p:cNvCxnSpPr>
          <p:nvPr/>
        </p:nvCxnSpPr>
        <p:spPr>
          <a:xfrm>
            <a:off x="2394857" y="3093244"/>
            <a:ext cx="9841351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4" y="576072"/>
            <a:ext cx="8788893" cy="1425393"/>
          </a:xfrm>
        </p:spPr>
        <p:txBody>
          <a:bodyPr anchor="b">
            <a:noAutofit/>
          </a:bodyPr>
          <a:lstStyle>
            <a:lvl1pPr algn="ctr">
              <a:defRPr lang="en-US" sz="5400" b="0" i="0" kern="1200" dirty="0">
                <a:solidFill>
                  <a:schemeClr val="bg1"/>
                </a:solidFill>
                <a:latin typeface="Poppins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1940703"/>
            <a:ext cx="8788893" cy="485020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7A3D854-BB13-A4EC-8CEC-31AF229821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0D2EEA4A-CAE0-40D8-B2B7-D2535DC2FA0B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C401C87-C7E9-EB20-AC8A-1AAC88C1B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901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E4A9AC36-04BC-9CA1-F495-D4E2465E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" t="72221" b="298"/>
          <a:stretch>
            <a:fillRect/>
          </a:stretch>
        </p:blipFill>
        <p:spPr bwMode="auto">
          <a:xfrm>
            <a:off x="1087438" y="0"/>
            <a:ext cx="10334625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99B24362-E137-F254-5414-5FE3A37A9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2"/>
          <a:stretch>
            <a:fillRect/>
          </a:stretch>
        </p:blipFill>
        <p:spPr bwMode="auto">
          <a:xfrm>
            <a:off x="0" y="-23813"/>
            <a:ext cx="9185275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CEBABE5-D1AE-9516-AF6B-5A508D53E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F0E74D1-FEA2-BD86-BAB7-6FE1A74091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8252" y="4397292"/>
            <a:ext cx="3714798" cy="1114804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36A43DF-31C4-C63C-A695-E849F1FE48AD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FF9824-50F9-6714-E07D-6FFC753DC20C}"/>
              </a:ext>
            </a:extLst>
          </p:cNvPr>
          <p:cNvCxnSpPr>
            <a:cxnSpLocks/>
          </p:cNvCxnSpPr>
          <p:nvPr/>
        </p:nvCxnSpPr>
        <p:spPr>
          <a:xfrm>
            <a:off x="2485748" y="2855913"/>
            <a:ext cx="9706252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bg2">
                    <a:alpha val="0"/>
                  </a:schemeClr>
                </a:gs>
                <a:gs pos="9000">
                  <a:schemeClr val="bg2"/>
                </a:gs>
                <a:gs pos="4500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02997" y="357763"/>
            <a:ext cx="8788893" cy="1425393"/>
          </a:xfrm>
        </p:spPr>
        <p:txBody>
          <a:bodyPr anchor="b">
            <a:noAutofit/>
          </a:bodyPr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09977" y="1803829"/>
            <a:ext cx="8788893" cy="485020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126A4D0-6E85-3148-EBF7-15F513C87F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B012421C-5926-4074-92EB-838C52C8D694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E199328-98B9-A9D2-7E82-01B534342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0154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 No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12BD2F-96A3-C204-4A62-E40730DE871B}"/>
              </a:ext>
            </a:extLst>
          </p:cNvPr>
          <p:cNvSpPr/>
          <p:nvPr/>
        </p:nvSpPr>
        <p:spPr>
          <a:xfrm>
            <a:off x="-13960" y="-6981"/>
            <a:ext cx="12250168" cy="3951964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883867B9-8330-AC8F-14FD-E4A8F2CFE8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0"/>
            <a:ext cx="91995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9ABDFB1-C936-2936-8BAA-6AC66ADE4670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77D0FD6-2E26-EBC6-3774-3C5757DBC5C5}"/>
              </a:ext>
            </a:extLst>
          </p:cNvPr>
          <p:cNvCxnSpPr>
            <a:cxnSpLocks/>
          </p:cNvCxnSpPr>
          <p:nvPr/>
        </p:nvCxnSpPr>
        <p:spPr>
          <a:xfrm>
            <a:off x="2171700" y="3898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B9D32BB-40CF-5530-06A8-2E8E3BF22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9525"/>
            <a:ext cx="71247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9BD382B-77A8-797E-7542-A071373E5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8781" y="4803002"/>
            <a:ext cx="4361276" cy="1308811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576072"/>
            <a:ext cx="8613322" cy="1645697"/>
          </a:xfrm>
        </p:spPr>
        <p:txBody>
          <a:bodyPr anchor="b">
            <a:noAutofit/>
          </a:bodyPr>
          <a:lstStyle>
            <a:lvl1pPr algn="ctr">
              <a:defRPr lang="en-US" sz="5400" b="0" i="0" kern="1200" dirty="0">
                <a:solidFill>
                  <a:schemeClr val="bg1"/>
                </a:solidFill>
                <a:latin typeface="Poppins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2221769"/>
            <a:ext cx="8613323" cy="1270367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6DBF73F0-B3CC-A049-EC0B-5C6CA6C379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71463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5128CAEC-90A8-4237-93BC-BC1BAEFD6F53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518F497-B2C5-FEED-AD10-FEE5182CC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23213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745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Conf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657CE7A-88C6-6552-0AB9-56882E78F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B5E98F9-52E0-C79E-8ABE-349439369E7B}"/>
              </a:ext>
            </a:extLst>
          </p:cNvPr>
          <p:cNvSpPr>
            <a:spLocks/>
          </p:cNvSpPr>
          <p:nvPr/>
        </p:nvSpPr>
        <p:spPr>
          <a:xfrm>
            <a:off x="-13960" y="-17413"/>
            <a:ext cx="12250168" cy="473228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BACEC19F-39F7-B055-77D6-77645495F9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 b="31244"/>
          <a:stretch>
            <a:fillRect/>
          </a:stretch>
        </p:blipFill>
        <p:spPr bwMode="auto">
          <a:xfrm>
            <a:off x="-14288" y="0"/>
            <a:ext cx="91995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536F45-A486-D6D1-E671-20D5E260797F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D6BF939-584E-CC36-0FB6-0CFD62485C64}"/>
              </a:ext>
            </a:extLst>
          </p:cNvPr>
          <p:cNvCxnSpPr>
            <a:cxnSpLocks/>
          </p:cNvCxnSpPr>
          <p:nvPr/>
        </p:nvCxnSpPr>
        <p:spPr>
          <a:xfrm>
            <a:off x="2162175" y="4660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FEAEE77-36BB-F7B6-2824-51B206D29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129B1407-2B0C-2A5C-8489-A5495D9C7E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5089"/>
          <a:stretch/>
        </p:blipFill>
        <p:spPr>
          <a:xfrm>
            <a:off x="886153" y="5223529"/>
            <a:ext cx="4179325" cy="939528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287595"/>
            <a:ext cx="8613322" cy="2551467"/>
          </a:xfrm>
        </p:spPr>
        <p:txBody>
          <a:bodyPr>
            <a:noAutofit/>
          </a:bodyPr>
          <a:lstStyle>
            <a:lvl1pPr algn="l">
              <a:lnSpc>
                <a:spcPts val="4700"/>
              </a:lnSpc>
              <a:defRPr lang="en-US" sz="4400" b="0" i="0" kern="1200" dirty="0">
                <a:solidFill>
                  <a:schemeClr val="bg1"/>
                </a:solidFill>
                <a:latin typeface="Poppins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9624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C5A2BDB-BF32-39EC-A04F-47AE151F38F7}"/>
              </a:ext>
            </a:extLst>
          </p:cNvPr>
          <p:cNvSpPr/>
          <p:nvPr/>
        </p:nvSpPr>
        <p:spPr>
          <a:xfrm>
            <a:off x="-13960" y="-6980"/>
            <a:ext cx="12250168" cy="112380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1437911"/>
            <a:ext cx="11439888" cy="46348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AEAF311-1A97-EE42-CDBD-E6F7771119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2155358-31CB-4C51-81A0-0D22604BEF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6460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7D08388-596A-9C89-13E0-9F4CB7CF1A3E}"/>
              </a:ext>
            </a:extLst>
          </p:cNvPr>
          <p:cNvSpPr/>
          <p:nvPr/>
        </p:nvSpPr>
        <p:spPr>
          <a:xfrm>
            <a:off x="-13960" y="-6980"/>
            <a:ext cx="12250168" cy="180200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70" y="102016"/>
            <a:ext cx="11439888" cy="101958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2003304"/>
            <a:ext cx="11439888" cy="40694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6828" y="1141413"/>
            <a:ext cx="11441112" cy="491943"/>
          </a:xfrm>
        </p:spPr>
        <p:txBody>
          <a:bodyPr lIns="0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F85060D-5A12-6869-425A-F76B58C604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B758474-6C76-4C69-BC6E-0028FFACE5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3087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Conf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400D15B-5CC1-1C52-4731-B66E9C8578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6367D8D-E47B-A064-75BE-A6E380C8E525}"/>
              </a:ext>
            </a:extLst>
          </p:cNvPr>
          <p:cNvSpPr>
            <a:spLocks/>
          </p:cNvSpPr>
          <p:nvPr/>
        </p:nvSpPr>
        <p:spPr>
          <a:xfrm>
            <a:off x="-13960" y="-17413"/>
            <a:ext cx="12250168" cy="473228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EB90CF99-63AB-B4ED-FC56-FCE82209D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 b="31244"/>
          <a:stretch>
            <a:fillRect/>
          </a:stretch>
        </p:blipFill>
        <p:spPr bwMode="auto">
          <a:xfrm>
            <a:off x="-14288" y="0"/>
            <a:ext cx="91995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EB822C9-02B3-1022-AE12-B34C3E3B570C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28F84A-2358-ADA0-7D25-0A79ACCD3291}"/>
              </a:ext>
            </a:extLst>
          </p:cNvPr>
          <p:cNvCxnSpPr>
            <a:cxnSpLocks/>
          </p:cNvCxnSpPr>
          <p:nvPr/>
        </p:nvCxnSpPr>
        <p:spPr>
          <a:xfrm>
            <a:off x="2162175" y="4660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64FA07DD-B669-22A3-A47D-B4AA0D6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3ADD93E8-1261-9E58-9F0F-A1F1735F5E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153" y="5223528"/>
            <a:ext cx="4179325" cy="1254207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287595"/>
            <a:ext cx="8613322" cy="2551467"/>
          </a:xfrm>
        </p:spPr>
        <p:txBody>
          <a:bodyPr>
            <a:noAutofit/>
          </a:bodyPr>
          <a:lstStyle>
            <a:lvl1pPr algn="l">
              <a:lnSpc>
                <a:spcPts val="4700"/>
              </a:lnSpc>
              <a:defRPr lang="en-US" sz="4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BA8F5E-EC7B-C5F4-A14E-CC13ADEEF8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4550364-DF7C-41D9-838D-6B539C4C1B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1639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B3CC198-B9F7-1192-0C64-2E0395371219}"/>
              </a:ext>
            </a:extLst>
          </p:cNvPr>
          <p:cNvSpPr/>
          <p:nvPr/>
        </p:nvSpPr>
        <p:spPr>
          <a:xfrm>
            <a:off x="-13959" y="-6980"/>
            <a:ext cx="4490544" cy="6914217"/>
          </a:xfrm>
          <a:prstGeom prst="rect">
            <a:avLst/>
          </a:prstGeom>
          <a:gradFill flip="none" rotWithShape="1">
            <a:gsLst>
              <a:gs pos="19000">
                <a:srgbClr val="1C446F"/>
              </a:gs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599" y="3665128"/>
            <a:ext cx="3652001" cy="2083665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0431" y="333955"/>
            <a:ext cx="6949985" cy="5738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3959" y="-6980"/>
            <a:ext cx="4490544" cy="2878138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D014F7-6EA3-3DF4-90D3-A403BBE153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24963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83FD4F0-551A-4DC8-BD55-1DFEE7C2D8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2991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98EB42-B334-DACA-9755-AAF6623691DC}"/>
              </a:ext>
            </a:extLst>
          </p:cNvPr>
          <p:cNvSpPr/>
          <p:nvPr/>
        </p:nvSpPr>
        <p:spPr>
          <a:xfrm>
            <a:off x="-13959" y="-6980"/>
            <a:ext cx="3472776" cy="693256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600" y="3045350"/>
            <a:ext cx="2364552" cy="270344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8817" y="357809"/>
            <a:ext cx="8346583" cy="5899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75C1DE0-BEA2-2EB0-3F79-C5E2A356CD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7025" y="6364288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C5BB2C8-265B-4828-8E8C-9EB3DCF8C82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64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CFD3A445-0AE2-28D3-861E-0FFDEAD9C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1113"/>
            <a:ext cx="12684126" cy="694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7F7C1DD-C232-192E-FB50-2E572962A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9300" y="6480175"/>
            <a:ext cx="573088" cy="11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2DA1ED3-AC78-CBEF-417C-DC6771C65BA7}"/>
              </a:ext>
            </a:extLst>
          </p:cNvPr>
          <p:cNvCxnSpPr>
            <a:cxnSpLocks/>
          </p:cNvCxnSpPr>
          <p:nvPr/>
        </p:nvCxnSpPr>
        <p:spPr>
          <a:xfrm>
            <a:off x="11558588" y="6446838"/>
            <a:ext cx="0" cy="18415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383" y="962630"/>
            <a:ext cx="6682132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8383" y="3842355"/>
            <a:ext cx="668213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E44BA19-DC76-1C40-096C-D52DE285AB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805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0DEA15-BBF4-4C0E-B36B-48463ABCC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9058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04D7E45-BA3D-CC40-D18F-FD29C199B5C1}"/>
              </a:ext>
            </a:extLst>
          </p:cNvPr>
          <p:cNvSpPr/>
          <p:nvPr/>
        </p:nvSpPr>
        <p:spPr>
          <a:xfrm>
            <a:off x="-13960" y="-6980"/>
            <a:ext cx="12250168" cy="116787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227177"/>
            <a:ext cx="10515600" cy="461811"/>
          </a:xfrm>
        </p:spPr>
        <p:txBody>
          <a:bodyPr lIns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1752" y="3570136"/>
            <a:ext cx="3185161" cy="267043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ü"/>
              <a:defRPr sz="1400" b="1"/>
            </a:lvl1pPr>
            <a:lvl2pPr marL="6858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3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8532" y="1395047"/>
            <a:ext cx="7624639" cy="48420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1752" y="640162"/>
            <a:ext cx="10515600" cy="332307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6CB6E045-BD18-0BC7-5F4E-63BC47BAD1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BFBD1B-327C-49DE-9302-FFAE74A9472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3023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AC658D46-05D1-5A6D-B8E3-A5B9B9AD7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6D337-0EB7-4BE6-825B-2E966582AD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6394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1CD201F-9E49-F2B8-8D5C-374651D286F0}"/>
              </a:ext>
            </a:extLst>
          </p:cNvPr>
          <p:cNvSpPr/>
          <p:nvPr/>
        </p:nvSpPr>
        <p:spPr>
          <a:xfrm>
            <a:off x="10656888" y="6265863"/>
            <a:ext cx="1535112" cy="592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BA1E2840-4028-8A42-4E61-E5592CC87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" y="6481763"/>
            <a:ext cx="573088" cy="11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62BEE19-3D16-7F32-1E5E-1E612AF5C48E}"/>
              </a:ext>
            </a:extLst>
          </p:cNvPr>
          <p:cNvCxnSpPr>
            <a:cxnSpLocks/>
          </p:cNvCxnSpPr>
          <p:nvPr/>
        </p:nvCxnSpPr>
        <p:spPr>
          <a:xfrm>
            <a:off x="968375" y="6450013"/>
            <a:ext cx="0" cy="18256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FE796D64-3D28-DF5E-2F5A-846BEDAAD4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15900" y="6354763"/>
            <a:ext cx="11017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A570A7-2E9F-43DD-BAF2-A16C08170F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20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D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F0BFF87-9692-0B24-4C9D-3EB98ADEB02C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0">
                <a:srgbClr val="112F4D"/>
              </a:gs>
              <a:gs pos="43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ADFC091-9E0B-6127-50A1-E3FE0988F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0100" y="6486525"/>
            <a:ext cx="573088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DE845A0-1195-B08B-BB99-EAC9ED1C2945}"/>
              </a:ext>
            </a:extLst>
          </p:cNvPr>
          <p:cNvCxnSpPr>
            <a:cxnSpLocks/>
          </p:cNvCxnSpPr>
          <p:nvPr/>
        </p:nvCxnSpPr>
        <p:spPr>
          <a:xfrm>
            <a:off x="11609388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955" y="64964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056A0C1-8705-2BB5-B11E-19187DEA99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11F967-6F39-4587-9679-7926F9CEBE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4807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D2786F-2CA4-5B54-0F40-E583DA5CA6C3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18000">
                <a:srgbClr val="1A4069"/>
              </a:gs>
              <a:gs pos="0">
                <a:schemeClr val="accent5"/>
              </a:gs>
              <a:gs pos="66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7F6D733-CD88-D71A-D11F-B4A42089B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" y="6486525"/>
            <a:ext cx="574675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CE780F9-DEA0-0601-3E0F-200004B491C2}"/>
              </a:ext>
            </a:extLst>
          </p:cNvPr>
          <p:cNvCxnSpPr>
            <a:cxnSpLocks/>
          </p:cNvCxnSpPr>
          <p:nvPr/>
        </p:nvCxnSpPr>
        <p:spPr>
          <a:xfrm>
            <a:off x="950913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5809" y="136525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E88393-D587-993F-FD69-03ACFE797D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228600" y="6364288"/>
            <a:ext cx="15351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077044-B55B-4B56-985D-E57D690A00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4992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97F268-052E-0879-2AD2-32D309CABD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DA070C49-EA8D-4B41-875F-B82278BA5A2D}" type="datetimeFigureOut">
              <a:rPr lang="en-US"/>
              <a:pPr>
                <a:defRPr/>
              </a:pPr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A0891E-DA68-360D-08C3-C8C82FF33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34EC1C-7020-735B-29D2-72D6A175C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DD01C2-CDD0-429A-B67C-A8CF271790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7611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232865F8-4DFA-988C-0669-965355FD43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232865F8-4DFA-988C-0669-965355FD43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056B43-24B9-9669-883D-31EDB7A54E44}"/>
              </a:ext>
            </a:extLst>
          </p:cNvPr>
          <p:cNvCxnSpPr/>
          <p:nvPr/>
        </p:nvCxnSpPr>
        <p:spPr>
          <a:xfrm>
            <a:off x="661988" y="604838"/>
            <a:ext cx="10947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9">
            <a:extLst>
              <a:ext uri="{FF2B5EF4-FFF2-40B4-BE49-F238E27FC236}">
                <a16:creationId xmlns:a16="http://schemas.microsoft.com/office/drawing/2014/main" id="{E8288403-72FC-E13F-AECD-A3F06BC64A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45" b="28046"/>
          <a:stretch>
            <a:fillRect/>
          </a:stretch>
        </p:blipFill>
        <p:spPr bwMode="auto">
          <a:xfrm>
            <a:off x="4763" y="6405563"/>
            <a:ext cx="1657350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619277" y="151034"/>
            <a:ext cx="10963124" cy="423863"/>
          </a:xfrm>
        </p:spPr>
        <p:txBody>
          <a:bodyPr/>
          <a:lstStyle>
            <a:lvl1pPr marL="0" indent="0" algn="l">
              <a:buNone/>
              <a:defRPr sz="2000" b="1">
                <a:solidFill>
                  <a:srgbClr val="1F497D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620184" y="683322"/>
            <a:ext cx="10962216" cy="344488"/>
          </a:xfrm>
        </p:spPr>
        <p:txBody>
          <a:bodyPr/>
          <a:lstStyle>
            <a:lvl1pPr marL="0" indent="0">
              <a:buNone/>
              <a:defRPr sz="1600" i="1"/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20184" y="1211930"/>
            <a:ext cx="10962216" cy="4611353"/>
          </a:xfrm>
        </p:spPr>
        <p:txBody>
          <a:bodyPr/>
          <a:lstStyle>
            <a:lvl1pPr marL="233363" indent="-233363">
              <a:buClr>
                <a:srgbClr val="1F497D"/>
              </a:buClr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36538">
              <a:buClr>
                <a:srgbClr val="1F497D"/>
              </a:buClr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1363" indent="-228600">
              <a:buClr>
                <a:srgbClr val="1F497D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9277" y="6252714"/>
            <a:ext cx="10963123" cy="240911"/>
          </a:xfrm>
        </p:spPr>
        <p:txBody>
          <a:bodyPr anchor="b"/>
          <a:lstStyle>
            <a:lvl1pPr marL="0" indent="0">
              <a:buNone/>
              <a:defRPr sz="7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10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9CE8FF9-9CC5-40ED-37BD-683AF47C4D9B}"/>
              </a:ext>
            </a:extLst>
          </p:cNvPr>
          <p:cNvSpPr/>
          <p:nvPr/>
        </p:nvSpPr>
        <p:spPr>
          <a:xfrm>
            <a:off x="-13960" y="-6980"/>
            <a:ext cx="12250168" cy="112380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1437911"/>
            <a:ext cx="11439888" cy="46348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C4C35AC-87F1-0952-9127-054BA1C32C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FC7FE5F-B846-446C-92A6-6D62E36507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0565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E6FF85-1E9D-E3D8-5239-7ADF725CDE0D}"/>
              </a:ext>
            </a:extLst>
          </p:cNvPr>
          <p:cNvSpPr/>
          <p:nvPr/>
        </p:nvSpPr>
        <p:spPr>
          <a:xfrm>
            <a:off x="-13960" y="-6981"/>
            <a:ext cx="12250168" cy="2912409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07C09CE2-CAAD-F997-B70F-F4DAF372E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-23813"/>
            <a:ext cx="9199563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2492473-9B9D-F653-2BC6-5018AE4531C3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2E2E3E3-7F92-53E1-26CB-A506DA7757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070CDC-7F1C-761B-15CA-FCEA6B51BFB3}"/>
              </a:ext>
            </a:extLst>
          </p:cNvPr>
          <p:cNvCxnSpPr>
            <a:cxnSpLocks/>
          </p:cNvCxnSpPr>
          <p:nvPr userDrawn="1"/>
        </p:nvCxnSpPr>
        <p:spPr>
          <a:xfrm>
            <a:off x="2394857" y="2855913"/>
            <a:ext cx="9841351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DE5E3A9-BFBE-B328-BEDB-B72C966521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252" y="4397292"/>
            <a:ext cx="3714798" cy="1114804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4" y="576072"/>
            <a:ext cx="8788893" cy="1425393"/>
          </a:xfrm>
        </p:spPr>
        <p:txBody>
          <a:bodyPr anchor="b">
            <a:noAutofit/>
          </a:bodyPr>
          <a:lstStyle>
            <a:lvl1pPr algn="ctr">
              <a:defRPr lang="en-US" sz="5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1940703"/>
            <a:ext cx="8788893" cy="485020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0D28F1B-C120-C63F-CE72-6F304A0BED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7C18E90-771C-66B1-BF94-189890463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60836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CA7B3D36-7A51-6A7D-3D8E-254E298A22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" t="72221" b="298"/>
          <a:stretch>
            <a:fillRect/>
          </a:stretch>
        </p:blipFill>
        <p:spPr bwMode="auto">
          <a:xfrm>
            <a:off x="1087438" y="0"/>
            <a:ext cx="10334625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40C84802-D2FB-C851-F271-083F0351E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2"/>
          <a:stretch>
            <a:fillRect/>
          </a:stretch>
        </p:blipFill>
        <p:spPr bwMode="auto">
          <a:xfrm>
            <a:off x="0" y="-23813"/>
            <a:ext cx="9185275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F62C9F9-31E7-626A-1C32-ED3AD4BB4D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0C4B9D85-3B29-5FE1-00DA-44495E3DFF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8252" y="4397292"/>
            <a:ext cx="3714798" cy="1114804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0D8C6A8-5D47-DBC2-2CCC-6E7627F579E3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41CB80-7CDE-E582-BBF7-C7C37FB5DA27}"/>
              </a:ext>
            </a:extLst>
          </p:cNvPr>
          <p:cNvCxnSpPr>
            <a:cxnSpLocks/>
          </p:cNvCxnSpPr>
          <p:nvPr/>
        </p:nvCxnSpPr>
        <p:spPr>
          <a:xfrm>
            <a:off x="2485748" y="2855913"/>
            <a:ext cx="9706252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bg2">
                    <a:alpha val="0"/>
                  </a:schemeClr>
                </a:gs>
                <a:gs pos="9000">
                  <a:schemeClr val="bg2"/>
                </a:gs>
                <a:gs pos="4500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052CC8D7-4D93-78D7-7060-16C6B0916B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" t="72221" b="298"/>
          <a:stretch>
            <a:fillRect/>
          </a:stretch>
        </p:blipFill>
        <p:spPr bwMode="auto">
          <a:xfrm>
            <a:off x="1087438" y="0"/>
            <a:ext cx="10334625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65EDBA5-C66F-A4AD-4C70-8DC69ABD38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23813"/>
            <a:ext cx="71247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F4B841-7165-FD1B-33AC-BC49D6FD08E8}"/>
              </a:ext>
            </a:extLst>
          </p:cNvPr>
          <p:cNvCxnSpPr>
            <a:cxnSpLocks/>
          </p:cNvCxnSpPr>
          <p:nvPr userDrawn="1"/>
        </p:nvCxnSpPr>
        <p:spPr>
          <a:xfrm>
            <a:off x="2485748" y="2855913"/>
            <a:ext cx="9706252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bg2">
                    <a:alpha val="0"/>
                  </a:schemeClr>
                </a:gs>
                <a:gs pos="9000">
                  <a:schemeClr val="bg2"/>
                </a:gs>
                <a:gs pos="4500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02997" y="357763"/>
            <a:ext cx="8788893" cy="1425393"/>
          </a:xfrm>
        </p:spPr>
        <p:txBody>
          <a:bodyPr anchor="b">
            <a:noAutofit/>
          </a:bodyPr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09977" y="1803829"/>
            <a:ext cx="8788893" cy="485020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1CAD9745-FE56-9A96-6916-B13B47F7E8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1AB5B1A-198E-17FB-1C85-350F22121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41263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 No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AAD0A-7E9B-CB71-9B48-575619A9D4C3}"/>
              </a:ext>
            </a:extLst>
          </p:cNvPr>
          <p:cNvSpPr/>
          <p:nvPr/>
        </p:nvSpPr>
        <p:spPr>
          <a:xfrm>
            <a:off x="-13960" y="-6981"/>
            <a:ext cx="12250168" cy="3951964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93DAF6A0-0A3F-583D-1C6A-1B7D43A3DB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/>
          <a:stretch>
            <a:fillRect/>
          </a:stretch>
        </p:blipFill>
        <p:spPr bwMode="auto">
          <a:xfrm>
            <a:off x="-14288" y="0"/>
            <a:ext cx="91995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0B4A22E-64C1-286F-F20F-087A82920C25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5C3FC93-34C8-DD83-29BA-85D0C2FCD8C9}"/>
              </a:ext>
            </a:extLst>
          </p:cNvPr>
          <p:cNvCxnSpPr>
            <a:cxnSpLocks/>
          </p:cNvCxnSpPr>
          <p:nvPr/>
        </p:nvCxnSpPr>
        <p:spPr>
          <a:xfrm>
            <a:off x="2171700" y="3898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3C8F44A-F200-FF67-2046-3ABA63DCC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9525"/>
            <a:ext cx="71247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47EB0AA-9BA7-D3EE-A0E6-88FA93359E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8781" y="4803002"/>
            <a:ext cx="4361276" cy="1308811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77B7B84-0ABB-AB14-E29C-2BBD4D68045C}"/>
              </a:ext>
            </a:extLst>
          </p:cNvPr>
          <p:cNvSpPr/>
          <p:nvPr userDrawn="1"/>
        </p:nvSpPr>
        <p:spPr>
          <a:xfrm>
            <a:off x="-13960" y="-6981"/>
            <a:ext cx="12250168" cy="3951964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1E99D6-964B-EF43-50DB-B307ACD5BA5A}"/>
              </a:ext>
            </a:extLst>
          </p:cNvPr>
          <p:cNvCxnSpPr>
            <a:cxnSpLocks/>
          </p:cNvCxnSpPr>
          <p:nvPr userDrawn="1"/>
        </p:nvCxnSpPr>
        <p:spPr>
          <a:xfrm>
            <a:off x="2171700" y="3898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7B1F8AF4-5E98-87FE-1556-18CB72D6A2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22723"/>
          <a:stretch>
            <a:fillRect/>
          </a:stretch>
        </p:blipFill>
        <p:spPr bwMode="auto">
          <a:xfrm>
            <a:off x="-358775" y="-9525"/>
            <a:ext cx="71247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576072"/>
            <a:ext cx="8613322" cy="1645697"/>
          </a:xfrm>
        </p:spPr>
        <p:txBody>
          <a:bodyPr anchor="b">
            <a:noAutofit/>
          </a:bodyPr>
          <a:lstStyle>
            <a:lvl1pPr algn="ctr">
              <a:defRPr lang="en-US" sz="5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4408" y="2221769"/>
            <a:ext cx="8613323" cy="1270367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9EACCAAA-643A-884C-73F0-3C51352072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71463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373BAE8-7E75-9646-67FD-86DEEF7E7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23213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835479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Conf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99C0B54-E3AA-F313-2255-90F31EBC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4F5606D-0EF7-853C-CA6A-BC2943201E8F}"/>
              </a:ext>
            </a:extLst>
          </p:cNvPr>
          <p:cNvSpPr>
            <a:spLocks/>
          </p:cNvSpPr>
          <p:nvPr/>
        </p:nvSpPr>
        <p:spPr>
          <a:xfrm>
            <a:off x="-13960" y="-17413"/>
            <a:ext cx="12250168" cy="473228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82A578BF-914C-A2C3-AE29-98D197DBE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 b="31244"/>
          <a:stretch>
            <a:fillRect/>
          </a:stretch>
        </p:blipFill>
        <p:spPr bwMode="auto">
          <a:xfrm>
            <a:off x="-14288" y="0"/>
            <a:ext cx="91995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0A0E1BD-E8AA-564D-24FA-BDFD42F5A581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B27AD43-FCC2-FAFD-91AC-EFDF03682ACB}"/>
              </a:ext>
            </a:extLst>
          </p:cNvPr>
          <p:cNvCxnSpPr>
            <a:cxnSpLocks/>
          </p:cNvCxnSpPr>
          <p:nvPr/>
        </p:nvCxnSpPr>
        <p:spPr>
          <a:xfrm>
            <a:off x="2162175" y="4660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1FDD667-0A46-F8B5-12A4-69B721398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6A58CE58-A34A-2939-CE47-9C81FE0C9E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153" y="5223528"/>
            <a:ext cx="4179325" cy="1254207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pic>
        <p:nvPicPr>
          <p:cNvPr id="10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65BA870B-552E-66A8-EAE5-A3C1620973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61DCDA2-8543-5121-CE03-4B7B287BA3EE}"/>
              </a:ext>
            </a:extLst>
          </p:cNvPr>
          <p:cNvSpPr>
            <a:spLocks/>
          </p:cNvSpPr>
          <p:nvPr userDrawn="1"/>
        </p:nvSpPr>
        <p:spPr>
          <a:xfrm>
            <a:off x="-13960" y="-17413"/>
            <a:ext cx="12250168" cy="473228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94F2D5-578B-8678-19A7-8CF5F5471021}"/>
              </a:ext>
            </a:extLst>
          </p:cNvPr>
          <p:cNvCxnSpPr>
            <a:cxnSpLocks/>
          </p:cNvCxnSpPr>
          <p:nvPr userDrawn="1"/>
        </p:nvCxnSpPr>
        <p:spPr>
          <a:xfrm>
            <a:off x="2162175" y="4660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7F34BC-CE3D-C415-E142-B9637288E6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FA4E2A0E-EC93-4B90-61F3-EC3C02813F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86153" y="5223528"/>
            <a:ext cx="4179325" cy="1254207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287595"/>
            <a:ext cx="8613322" cy="2551467"/>
          </a:xfrm>
        </p:spPr>
        <p:txBody>
          <a:bodyPr>
            <a:noAutofit/>
          </a:bodyPr>
          <a:lstStyle>
            <a:lvl1pPr algn="l">
              <a:lnSpc>
                <a:spcPts val="4700"/>
              </a:lnSpc>
              <a:defRPr lang="en-US" sz="4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190563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696262-31F1-E78E-24DC-A32701B5FBB9}"/>
              </a:ext>
            </a:extLst>
          </p:cNvPr>
          <p:cNvSpPr/>
          <p:nvPr/>
        </p:nvSpPr>
        <p:spPr>
          <a:xfrm>
            <a:off x="-13960" y="-6980"/>
            <a:ext cx="12250168" cy="112380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1437911"/>
            <a:ext cx="11439888" cy="46348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80" y="18256"/>
            <a:ext cx="11439888" cy="1098570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C93A516-0E10-23E0-E4C4-8A3542AC16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3A2BB584-4013-41EC-BA6D-063B0823FB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34839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DFE398-D085-E041-0C23-F75FD0A0A750}"/>
              </a:ext>
            </a:extLst>
          </p:cNvPr>
          <p:cNvSpPr/>
          <p:nvPr/>
        </p:nvSpPr>
        <p:spPr>
          <a:xfrm>
            <a:off x="-13960" y="-6980"/>
            <a:ext cx="12250168" cy="180200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70" y="102016"/>
            <a:ext cx="11439888" cy="101958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2003304"/>
            <a:ext cx="11439888" cy="40694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6828" y="1141413"/>
            <a:ext cx="11441112" cy="491943"/>
          </a:xfrm>
        </p:spPr>
        <p:txBody>
          <a:bodyPr lIns="0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5A14663-20AA-3DE2-8DF4-717FB750C4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6F8C5B5-D3C5-4555-AE83-38ADF3DE58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5179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F4558C0-9101-0C60-254D-22E3CF503FE5}"/>
              </a:ext>
            </a:extLst>
          </p:cNvPr>
          <p:cNvSpPr/>
          <p:nvPr/>
        </p:nvSpPr>
        <p:spPr>
          <a:xfrm>
            <a:off x="-13959" y="-6980"/>
            <a:ext cx="4490544" cy="6914217"/>
          </a:xfrm>
          <a:prstGeom prst="rect">
            <a:avLst/>
          </a:prstGeom>
          <a:gradFill flip="none" rotWithShape="1">
            <a:gsLst>
              <a:gs pos="19000">
                <a:srgbClr val="1C446F"/>
              </a:gs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599" y="3665128"/>
            <a:ext cx="3652001" cy="2083665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0431" y="333955"/>
            <a:ext cx="6949985" cy="5738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3959" y="-6980"/>
            <a:ext cx="4490544" cy="2878138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D3D3B79-9E15-547E-495E-83760FDCB6C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24963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AA9272C8-CA04-42A4-8D08-5A7D40050F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065899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C486CA-4416-51BA-150B-22CB622BD85D}"/>
              </a:ext>
            </a:extLst>
          </p:cNvPr>
          <p:cNvSpPr/>
          <p:nvPr/>
        </p:nvSpPr>
        <p:spPr>
          <a:xfrm>
            <a:off x="-13959" y="-6980"/>
            <a:ext cx="3472776" cy="693256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600" y="3045350"/>
            <a:ext cx="2364552" cy="270344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8817" y="357809"/>
            <a:ext cx="8346583" cy="5899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6E04789-23DA-4E08-3C17-F583963531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7025" y="6364288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583B162F-2702-4D31-B2A8-399839D207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12437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A38CF856-34B2-4E70-D931-1B96082E7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1113"/>
            <a:ext cx="12684126" cy="694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060812A-C85A-F435-A076-8C6440406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9300" y="6480175"/>
            <a:ext cx="573088" cy="11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53085D-A782-0795-9E74-A5AD4945A642}"/>
              </a:ext>
            </a:extLst>
          </p:cNvPr>
          <p:cNvCxnSpPr>
            <a:cxnSpLocks/>
          </p:cNvCxnSpPr>
          <p:nvPr/>
        </p:nvCxnSpPr>
        <p:spPr>
          <a:xfrm>
            <a:off x="11558588" y="6446838"/>
            <a:ext cx="0" cy="18415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383" y="962630"/>
            <a:ext cx="6682132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8383" y="3842355"/>
            <a:ext cx="668213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841B47F-F6B7-9E6D-55C1-0F08E5A30F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805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13CC9F-215C-43DC-8747-139123AC00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054026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3F073D1-A16A-1C1A-F7DA-2B5B71861257}"/>
              </a:ext>
            </a:extLst>
          </p:cNvPr>
          <p:cNvSpPr/>
          <p:nvPr/>
        </p:nvSpPr>
        <p:spPr>
          <a:xfrm>
            <a:off x="-13960" y="-6980"/>
            <a:ext cx="12250168" cy="116787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227177"/>
            <a:ext cx="10515600" cy="461811"/>
          </a:xfrm>
        </p:spPr>
        <p:txBody>
          <a:bodyPr lIns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1752" y="3570136"/>
            <a:ext cx="3185161" cy="267043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ü"/>
              <a:defRPr sz="1400" b="1"/>
            </a:lvl1pPr>
            <a:lvl2pPr marL="6858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90000"/>
              <a:buFont typeface="Wingdings" panose="05000000000000000000" pitchFamily="2" charset="2"/>
              <a:buChar char="§"/>
              <a:defRPr sz="13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8532" y="1395047"/>
            <a:ext cx="7624639" cy="48420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1752" y="640162"/>
            <a:ext cx="10515600" cy="332307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B73C2F3B-B606-ED6C-4087-F172AC0EBB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68BE8C-5297-4E18-B06B-2A0224181A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3151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33B9EE-D9EF-F3E1-E1EC-78B4E1DF1220}"/>
              </a:ext>
            </a:extLst>
          </p:cNvPr>
          <p:cNvSpPr/>
          <p:nvPr/>
        </p:nvSpPr>
        <p:spPr>
          <a:xfrm>
            <a:off x="-13960" y="-6980"/>
            <a:ext cx="12250168" cy="1802008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70" y="102016"/>
            <a:ext cx="11439888" cy="101958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529" y="2003304"/>
            <a:ext cx="11439888" cy="40694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6828" y="1141413"/>
            <a:ext cx="11441112" cy="491943"/>
          </a:xfrm>
        </p:spPr>
        <p:txBody>
          <a:bodyPr lIns="0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1AE8497-FF80-824C-F334-A0A9A06549B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1067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B292252A-4E80-4568-8877-B867B5A0FD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8513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1B59978-5FB2-CD0B-FF34-81F9599381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E0D355-AD39-4F64-9E5F-77BEE22C41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52780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ABE2375-DC8E-193D-B59D-88CEBEFF7DD6}"/>
              </a:ext>
            </a:extLst>
          </p:cNvPr>
          <p:cNvSpPr/>
          <p:nvPr/>
        </p:nvSpPr>
        <p:spPr>
          <a:xfrm>
            <a:off x="10656888" y="6265863"/>
            <a:ext cx="1535112" cy="592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0B5E452C-DF9A-B043-C079-90E738E73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" y="6481763"/>
            <a:ext cx="573088" cy="11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CB9F0BC-7C8B-015F-A4D0-F731DC4B501A}"/>
              </a:ext>
            </a:extLst>
          </p:cNvPr>
          <p:cNvCxnSpPr>
            <a:cxnSpLocks/>
          </p:cNvCxnSpPr>
          <p:nvPr/>
        </p:nvCxnSpPr>
        <p:spPr>
          <a:xfrm>
            <a:off x="968375" y="6450013"/>
            <a:ext cx="0" cy="18256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364" y="136526"/>
            <a:ext cx="11247783" cy="833534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5ADEA4D-E974-FB65-B7A2-BFF17AE495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15900" y="6354763"/>
            <a:ext cx="11017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407EA9-A649-49C2-8ED8-4F49920B20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488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D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263507F-149A-3EC9-380A-9924B7D26509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0">
                <a:srgbClr val="112F4D"/>
              </a:gs>
              <a:gs pos="43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E15E0B1-78F4-8B8C-CD43-E717623D1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0100" y="6486525"/>
            <a:ext cx="573088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93424F4-1CCA-34BF-253D-3A087DE9D905}"/>
              </a:ext>
            </a:extLst>
          </p:cNvPr>
          <p:cNvCxnSpPr>
            <a:cxnSpLocks/>
          </p:cNvCxnSpPr>
          <p:nvPr/>
        </p:nvCxnSpPr>
        <p:spPr>
          <a:xfrm>
            <a:off x="11609388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955" y="64964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BD8D1A5-0134-F682-7E65-AC3CC28F9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16226B-2878-45FB-8BA9-C0AD967D30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169265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754C3E-A2A4-B112-44EE-555F66B5311A}"/>
              </a:ext>
            </a:extLst>
          </p:cNvPr>
          <p:cNvSpPr/>
          <p:nvPr/>
        </p:nvSpPr>
        <p:spPr>
          <a:xfrm>
            <a:off x="-15902" y="-63610"/>
            <a:ext cx="12260911" cy="6989196"/>
          </a:xfrm>
          <a:prstGeom prst="rect">
            <a:avLst/>
          </a:prstGeom>
          <a:gradFill flip="none" rotWithShape="1">
            <a:gsLst>
              <a:gs pos="18000">
                <a:srgbClr val="1A4069"/>
              </a:gs>
              <a:gs pos="0">
                <a:schemeClr val="accent5"/>
              </a:gs>
              <a:gs pos="66000">
                <a:schemeClr val="accent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CC406D1-1057-2530-1423-7668BC917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" y="6486525"/>
            <a:ext cx="574675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641B12-492B-3330-2AFB-E01865616815}"/>
              </a:ext>
            </a:extLst>
          </p:cNvPr>
          <p:cNvCxnSpPr>
            <a:cxnSpLocks/>
          </p:cNvCxnSpPr>
          <p:nvPr/>
        </p:nvCxnSpPr>
        <p:spPr>
          <a:xfrm>
            <a:off x="950913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5809" y="136525"/>
            <a:ext cx="11306755" cy="1048219"/>
          </a:xfrm>
        </p:spPr>
        <p:txBody>
          <a:bodyPr l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129CF7-5879-7060-AB52-71315D8768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228600" y="6364288"/>
            <a:ext cx="15351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32B791-53D2-41A3-A832-80DC87C4BB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9634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90B55C-4497-AF9C-5457-C86DE67098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C54098-D6E4-2833-4231-C168C45FB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20DCD8-5EAF-6496-1BC6-C71ED8D01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5D08F0-67AD-4E71-80AE-DFF124D6D9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581929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Conf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3726865-719A-3720-1A69-CB598CAC2E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52" b="22820"/>
          <a:stretch>
            <a:fillRect/>
          </a:stretch>
        </p:blipFill>
        <p:spPr bwMode="auto">
          <a:xfrm>
            <a:off x="-358775" y="4718050"/>
            <a:ext cx="7124700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BB9355F-7AA6-DC2A-AAFA-7AC52F77DE94}"/>
              </a:ext>
            </a:extLst>
          </p:cNvPr>
          <p:cNvSpPr>
            <a:spLocks/>
          </p:cNvSpPr>
          <p:nvPr userDrawn="1"/>
        </p:nvSpPr>
        <p:spPr>
          <a:xfrm>
            <a:off x="-13960" y="-17413"/>
            <a:ext cx="12250168" cy="4732288"/>
          </a:xfrm>
          <a:prstGeom prst="rect">
            <a:avLst/>
          </a:prstGeom>
          <a:gradFill flip="none" rotWithShape="1">
            <a:gsLst>
              <a:gs pos="4000">
                <a:srgbClr val="225082"/>
              </a:gs>
              <a:gs pos="49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hexagons" descr="A picture containing outdoor object, honeycomb, wasp's nest&#10;&#10;Description automatically generated">
            <a:extLst>
              <a:ext uri="{FF2B5EF4-FFF2-40B4-BE49-F238E27FC236}">
                <a16:creationId xmlns:a16="http://schemas.microsoft.com/office/drawing/2014/main" id="{D7CBC3AA-87C5-D31D-1C60-9D400FA39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6" b="31244"/>
          <a:stretch>
            <a:fillRect/>
          </a:stretch>
        </p:blipFill>
        <p:spPr bwMode="auto">
          <a:xfrm>
            <a:off x="-14288" y="0"/>
            <a:ext cx="91995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3D6BC6D-3E5F-612A-A01F-E542EF701B19}"/>
              </a:ext>
            </a:extLst>
          </p:cNvPr>
          <p:cNvSpPr/>
          <p:nvPr/>
        </p:nvSpPr>
        <p:spPr>
          <a:xfrm>
            <a:off x="10655300" y="6356350"/>
            <a:ext cx="121285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49E5E3-C51A-0E1B-01D6-14B713EE2B98}"/>
              </a:ext>
            </a:extLst>
          </p:cNvPr>
          <p:cNvCxnSpPr>
            <a:cxnSpLocks/>
          </p:cNvCxnSpPr>
          <p:nvPr userDrawn="1"/>
        </p:nvCxnSpPr>
        <p:spPr>
          <a:xfrm>
            <a:off x="2162175" y="4660106"/>
            <a:ext cx="10064508" cy="0"/>
          </a:xfrm>
          <a:prstGeom prst="line">
            <a:avLst/>
          </a:prstGeom>
          <a:ln w="127000" cap="flat" cmpd="sng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43000">
                  <a:schemeClr val="accent3">
                    <a:alpha val="63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DNA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16A13EA-0355-3DAC-7829-63B335EA8C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5" b="43112"/>
          <a:stretch>
            <a:fillRect/>
          </a:stretch>
        </p:blipFill>
        <p:spPr bwMode="auto">
          <a:xfrm>
            <a:off x="-358775" y="-17463"/>
            <a:ext cx="7124700" cy="473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6B92E4B2-A62B-DACF-5A1B-A22E032F5B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86153" y="5223528"/>
            <a:ext cx="4179325" cy="1254207"/>
          </a:xfrm>
          <a:prstGeom prst="rect">
            <a:avLst/>
          </a:prstGeom>
          <a:effectLst>
            <a:glow rad="101600">
              <a:schemeClr val="bg1">
                <a:alpha val="59000"/>
              </a:schemeClr>
            </a:glo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5265" y="287595"/>
            <a:ext cx="8613322" cy="2551467"/>
          </a:xfrm>
        </p:spPr>
        <p:txBody>
          <a:bodyPr>
            <a:noAutofit/>
          </a:bodyPr>
          <a:lstStyle>
            <a:lvl1pPr algn="l">
              <a:lnSpc>
                <a:spcPts val="4700"/>
              </a:lnSpc>
              <a:defRPr lang="en-US" sz="4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561095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BE4DE391-9EBF-18D0-A894-ECA25478B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BE4DE391-9EBF-18D0-A894-ECA25478BD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76D99D-D0F5-6ED8-17A9-AD007EDB6CDD}"/>
              </a:ext>
            </a:extLst>
          </p:cNvPr>
          <p:cNvCxnSpPr/>
          <p:nvPr userDrawn="1"/>
        </p:nvCxnSpPr>
        <p:spPr>
          <a:xfrm>
            <a:off x="661988" y="604838"/>
            <a:ext cx="10947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619277" y="151035"/>
            <a:ext cx="10963124" cy="423863"/>
          </a:xfrm>
        </p:spPr>
        <p:txBody>
          <a:bodyPr/>
          <a:lstStyle>
            <a:lvl1pPr marL="0" indent="0" algn="l">
              <a:buNone/>
              <a:defRPr sz="2000" b="1">
                <a:solidFill>
                  <a:srgbClr val="1F497D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620185" y="683322"/>
            <a:ext cx="10962216" cy="344488"/>
          </a:xfrm>
        </p:spPr>
        <p:txBody>
          <a:bodyPr/>
          <a:lstStyle>
            <a:lvl1pPr marL="0" indent="0">
              <a:buNone/>
              <a:defRPr sz="1600" i="1"/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20185" y="1211931"/>
            <a:ext cx="10962216" cy="4611353"/>
          </a:xfrm>
        </p:spPr>
        <p:txBody>
          <a:bodyPr/>
          <a:lstStyle>
            <a:lvl1pPr marL="233363" indent="-233363">
              <a:buClr>
                <a:srgbClr val="1F497D"/>
              </a:buClr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36538">
              <a:buClr>
                <a:srgbClr val="1F497D"/>
              </a:buClr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1363" indent="-228600">
              <a:buClr>
                <a:srgbClr val="1F497D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9277" y="6252715"/>
            <a:ext cx="10963123" cy="240911"/>
          </a:xfrm>
        </p:spPr>
        <p:txBody>
          <a:bodyPr anchor="b"/>
          <a:lstStyle>
            <a:lvl1pPr marL="0" indent="0">
              <a:buNone/>
              <a:defRPr sz="7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4E1C46-8CAC-6292-FFD6-1FD80E33FE9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C42D524-A339-4AF5-9A21-320DDDC7B7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9339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on DNA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0076C04-F71B-5F6F-1B32-F79FE0A4BDD9}"/>
              </a:ext>
            </a:extLst>
          </p:cNvPr>
          <p:cNvSpPr/>
          <p:nvPr userDrawn="1"/>
        </p:nvSpPr>
        <p:spPr>
          <a:xfrm>
            <a:off x="-94003" y="-59821"/>
            <a:ext cx="12374310" cy="125070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13C8CB60-6D70-D02E-9B69-815E1B0819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85594" flipV="1">
            <a:off x="8924925" y="-231775"/>
            <a:ext cx="2732088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B3ACB510-60B7-1924-46D2-9FDF44AC50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8B157-4F6D-4457-BED7-F894C8EB2E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4549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 DNA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A3025D-EDD1-C12E-09A8-4D99A8DA7C2A}"/>
              </a:ext>
            </a:extLst>
          </p:cNvPr>
          <p:cNvSpPr/>
          <p:nvPr userDrawn="1"/>
        </p:nvSpPr>
        <p:spPr>
          <a:xfrm>
            <a:off x="-92279" y="-58723"/>
            <a:ext cx="12382151" cy="1249607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BE01AB-63DD-03E7-5893-B452986DF1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8893530">
            <a:off x="8575099" y="-473832"/>
            <a:ext cx="3934191" cy="2138546"/>
          </a:xfrm>
          <a:prstGeom prst="rect">
            <a:avLst/>
          </a:prstGeom>
          <a:effectLst>
            <a:softEdge rad="139700"/>
          </a:effec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6F1CFCB1-A82B-570C-097C-D952BFDFCE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BA119-3356-4E32-AA4D-4B847A847B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214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6B1661-2F36-8359-7557-A92687E1D6B1}"/>
              </a:ext>
            </a:extLst>
          </p:cNvPr>
          <p:cNvSpPr/>
          <p:nvPr userDrawn="1"/>
        </p:nvSpPr>
        <p:spPr>
          <a:xfrm>
            <a:off x="-8548" y="-23526"/>
            <a:ext cx="14662485" cy="4547400"/>
          </a:xfrm>
          <a:prstGeom prst="rect">
            <a:avLst/>
          </a:prstGeom>
          <a:gradFill flip="none" rotWithShape="1">
            <a:gsLst>
              <a:gs pos="6000">
                <a:srgbClr val="10578D"/>
              </a:gs>
              <a:gs pos="88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7CD27E-AC0D-559A-B99C-A319EC010789}"/>
              </a:ext>
            </a:extLst>
          </p:cNvPr>
          <p:cNvSpPr/>
          <p:nvPr userDrawn="1"/>
        </p:nvSpPr>
        <p:spPr>
          <a:xfrm>
            <a:off x="0" y="3028950"/>
            <a:ext cx="12192000" cy="3851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503BD5-0F22-1C58-C1E2-9BFF98D9E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17973312" flipH="1" flipV="1">
            <a:off x="275784" y="1029891"/>
            <a:ext cx="1213086" cy="1340743"/>
          </a:xfrm>
          <a:prstGeom prst="ellipse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876709-8293-0AE7-8779-CA480BFA5F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328" t="14019"/>
          <a:stretch/>
        </p:blipFill>
        <p:spPr>
          <a:xfrm rot="19909623" flipH="1" flipV="1">
            <a:off x="1256775" y="343148"/>
            <a:ext cx="760339" cy="840352"/>
          </a:xfrm>
          <a:prstGeom prst="ellipse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B8D89F-353F-BD5B-0C3B-FCBCA8EC8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44328" t="14019"/>
          <a:stretch/>
        </p:blipFill>
        <p:spPr>
          <a:xfrm rot="18760415" flipH="1" flipV="1">
            <a:off x="456252" y="84183"/>
            <a:ext cx="568166" cy="627955"/>
          </a:xfrm>
          <a:prstGeom prst="ellipse">
            <a:avLst/>
          </a:prstGeom>
        </p:spPr>
      </p:pic>
      <p:pic>
        <p:nvPicPr>
          <p:cNvPr id="10" name="Picture 12">
            <a:extLst>
              <a:ext uri="{FF2B5EF4-FFF2-40B4-BE49-F238E27FC236}">
                <a16:creationId xmlns:a16="http://schemas.microsoft.com/office/drawing/2014/main" id="{B8E7517B-4711-B3CB-4EC7-AD713CC46A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5" y="4418013"/>
            <a:ext cx="4264025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855AB4D5-25F4-F440-420E-0FB136CD15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81625" cy="302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73794" y="378873"/>
            <a:ext cx="7476844" cy="157035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b="0" i="0" spc="-50" baseline="0">
                <a:solidFill>
                  <a:schemeClr val="bg1"/>
                </a:solidFill>
                <a:latin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50707" y="2005521"/>
            <a:ext cx="7399931" cy="852930"/>
          </a:xfrm>
        </p:spPr>
        <p:txBody>
          <a:bodyPr>
            <a:normAutofit/>
          </a:bodyPr>
          <a:lstStyle>
            <a:lvl1pPr marL="0" indent="0" algn="l">
              <a:buNone/>
              <a:defRPr sz="2400" b="0" i="0" cap="none" spc="200" baseline="0">
                <a:solidFill>
                  <a:srgbClr val="34AADC"/>
                </a:solidFill>
                <a:latin typeface="Poppins" pitchFamily="2" charset="77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9884" y="3464955"/>
            <a:ext cx="5220754" cy="2845358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1pPr>
            <a:lvl2pPr>
              <a:defRPr b="0">
                <a:solidFill>
                  <a:schemeClr val="accent2"/>
                </a:solidFill>
                <a:latin typeface="Myriad Pro Light SemiExt" panose="020B0405030403020204" pitchFamily="34" charset="0"/>
              </a:defRPr>
            </a:lvl2pPr>
            <a:lvl3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3pPr>
            <a:lvl4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4pPr>
            <a:lvl5pPr>
              <a:defRPr b="1">
                <a:solidFill>
                  <a:schemeClr val="accent2"/>
                </a:solidFill>
                <a:latin typeface="Myriad Pro Black SemiCond" panose="020B09030304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BDA7027-411B-63D9-92F5-6484B9FBF7C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81EEC79-7F52-460B-8343-66ABC246D6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584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E6A84B-3CDD-6A23-B2B0-BF232573A066}"/>
              </a:ext>
            </a:extLst>
          </p:cNvPr>
          <p:cNvSpPr/>
          <p:nvPr/>
        </p:nvSpPr>
        <p:spPr>
          <a:xfrm>
            <a:off x="-13959" y="-6980"/>
            <a:ext cx="4490544" cy="6914217"/>
          </a:xfrm>
          <a:prstGeom prst="rect">
            <a:avLst/>
          </a:prstGeom>
          <a:gradFill flip="none" rotWithShape="1">
            <a:gsLst>
              <a:gs pos="19000">
                <a:srgbClr val="1C446F"/>
              </a:gs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599" y="3665128"/>
            <a:ext cx="3652001" cy="2083665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0431" y="333955"/>
            <a:ext cx="6949985" cy="5738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3959" y="-6980"/>
            <a:ext cx="4490544" cy="2878138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33342D9-B5F4-7A46-006C-25A506EF542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24963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5025FF16-75A4-49E0-9288-DD74FD4588D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7471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picture containing invertebrate, person, coelenterate, dark&#10;&#10;Description automatically generated">
            <a:extLst>
              <a:ext uri="{FF2B5EF4-FFF2-40B4-BE49-F238E27FC236}">
                <a16:creationId xmlns:a16="http://schemas.microsoft.com/office/drawing/2014/main" id="{04BB66F8-0330-D4FC-4847-FFD51040A8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3688" y="-120650"/>
            <a:ext cx="12831763" cy="712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C1D91EF-7673-07CD-23DD-8B94439B1EFE}"/>
              </a:ext>
            </a:extLst>
          </p:cNvPr>
          <p:cNvSpPr/>
          <p:nvPr userDrawn="1"/>
        </p:nvSpPr>
        <p:spPr>
          <a:xfrm>
            <a:off x="-34925" y="6492875"/>
            <a:ext cx="12226925" cy="36512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D76A0C81-43A8-566D-CACD-E7541B71B4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9688B98-EB93-B9C3-B1C0-EAA43F23CE76}"/>
              </a:ext>
            </a:extLst>
          </p:cNvPr>
          <p:cNvCxnSpPr>
            <a:cxnSpLocks/>
          </p:cNvCxnSpPr>
          <p:nvPr userDrawn="1"/>
        </p:nvCxnSpPr>
        <p:spPr>
          <a:xfrm>
            <a:off x="-293688" y="3784600"/>
            <a:ext cx="869315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89966" y="90743"/>
            <a:ext cx="6157670" cy="3338258"/>
          </a:xfrm>
        </p:spPr>
        <p:txBody>
          <a:bodyPr>
            <a:normAutofit/>
          </a:bodyPr>
          <a:lstStyle>
            <a:lvl1pPr marL="0">
              <a:defRPr sz="60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2D7F88B-FB7A-933B-A485-CE762FDDFB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8888" y="6523038"/>
            <a:ext cx="434975" cy="2905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A01395D-EDAD-4392-B507-BBB54BD44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9343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03DBCA-42A6-AD45-94A3-77F850E768B1}"/>
              </a:ext>
            </a:extLst>
          </p:cNvPr>
          <p:cNvSpPr/>
          <p:nvPr userDrawn="1"/>
        </p:nvSpPr>
        <p:spPr>
          <a:xfrm>
            <a:off x="-34539" y="-116956"/>
            <a:ext cx="15118163" cy="7081282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89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518806-ACF8-7EB9-80AE-0C4A41E79D7C}"/>
              </a:ext>
            </a:extLst>
          </p:cNvPr>
          <p:cNvSpPr/>
          <p:nvPr userDrawn="1"/>
        </p:nvSpPr>
        <p:spPr>
          <a:xfrm>
            <a:off x="-127000" y="584200"/>
            <a:ext cx="4359275" cy="542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E8AACC6-959F-4816-48E8-7938AAA2CC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61E94B07-A693-69ED-A6AC-E56A7E8A50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0538" y="-333375"/>
            <a:ext cx="11417300" cy="844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89966" y="765544"/>
            <a:ext cx="3892936" cy="4986670"/>
          </a:xfrm>
        </p:spPr>
        <p:txBody>
          <a:bodyPr>
            <a:normAutofit/>
          </a:bodyPr>
          <a:lstStyle>
            <a:lvl1pPr marL="0">
              <a:defRPr sz="6000" cap="none" baseline="0">
                <a:solidFill>
                  <a:schemeClr val="accent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0841DBB6-515D-F9C8-7BF9-EDF465C090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8888" y="6523038"/>
            <a:ext cx="434975" cy="29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29281D-81DC-4170-BA9E-CDDC8BD6DB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3024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us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9E65609-E4F7-7114-61A7-AA6BBF1D30AB}"/>
              </a:ext>
            </a:extLst>
          </p:cNvPr>
          <p:cNvSpPr/>
          <p:nvPr userDrawn="1"/>
        </p:nvSpPr>
        <p:spPr>
          <a:xfrm>
            <a:off x="-8547" y="-8546"/>
            <a:ext cx="15083625" cy="1190884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89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391B98-6A12-1CBE-2E27-0A4F8F0A5D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7507767" flipH="1" flipV="1">
            <a:off x="8473518" y="-447857"/>
            <a:ext cx="1801336" cy="1990897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E35DC0-84AB-8D29-E631-BC49E4FCEF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328" t="14019"/>
          <a:stretch/>
        </p:blipFill>
        <p:spPr>
          <a:xfrm rot="7600121" flipH="1" flipV="1">
            <a:off x="10903317" y="316984"/>
            <a:ext cx="763106" cy="843410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C0F9EE-B4C1-744E-7E77-EE212F898B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44328" t="14019"/>
          <a:stretch/>
        </p:blipFill>
        <p:spPr>
          <a:xfrm rot="6591251" flipH="1" flipV="1">
            <a:off x="11657586" y="92667"/>
            <a:ext cx="393269" cy="434654"/>
          </a:xfrm>
          <a:prstGeom prst="ellipse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F2DA0AF-F1DF-DF7D-4929-418AA526F2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4328" t="14019"/>
          <a:stretch/>
        </p:blipFill>
        <p:spPr>
          <a:xfrm rot="6777276" flipH="1" flipV="1">
            <a:off x="10273533" y="70289"/>
            <a:ext cx="531609" cy="587552"/>
          </a:xfrm>
          <a:prstGeom prst="ellipse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91490C8-17C8-9A20-459F-5A70D984A9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5BD0F8-CF1D-4CCA-9AB1-BDAD183C5B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703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us Conten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512655-1710-B7B9-0637-21D14E7B374D}"/>
              </a:ext>
            </a:extLst>
          </p:cNvPr>
          <p:cNvSpPr/>
          <p:nvPr userDrawn="1"/>
        </p:nvSpPr>
        <p:spPr>
          <a:xfrm>
            <a:off x="-34925" y="6492875"/>
            <a:ext cx="12226925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C00BAFD-5DFE-3E87-5442-900D9485D0DA}"/>
              </a:ext>
            </a:extLst>
          </p:cNvPr>
          <p:cNvSpPr/>
          <p:nvPr userDrawn="1"/>
        </p:nvSpPr>
        <p:spPr>
          <a:xfrm>
            <a:off x="-34539" y="-92364"/>
            <a:ext cx="15118163" cy="6585239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89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4CE11F-D960-FC45-612D-2F766A59B7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2728985" flipH="1" flipV="1">
            <a:off x="8762100" y="-1028028"/>
            <a:ext cx="2626786" cy="2903211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270068-104D-0405-0318-2EFB66489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4678543" flipH="1" flipV="1">
            <a:off x="11256267" y="623323"/>
            <a:ext cx="1029886" cy="1138264"/>
          </a:xfrm>
          <a:prstGeom prst="ellipse">
            <a:avLst/>
          </a:prstGeom>
        </p:spPr>
      </p:pic>
      <p:pic>
        <p:nvPicPr>
          <p:cNvPr id="7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96BEE90D-A44C-045E-A6FE-2569C1D7FD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1063A1CD-9913-1985-E0BE-0CFE56DFAD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8888" y="6523038"/>
            <a:ext cx="434975" cy="2905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44D99D7-C7A7-462F-AD2C-7FB9431030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75724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4685CE-E58A-961F-FD2B-48F2B261F1D6}"/>
              </a:ext>
            </a:extLst>
          </p:cNvPr>
          <p:cNvSpPr/>
          <p:nvPr userDrawn="1"/>
        </p:nvSpPr>
        <p:spPr>
          <a:xfrm flipV="1">
            <a:off x="-58365" y="-6049926"/>
            <a:ext cx="12289277" cy="12542800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7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D2E3AE-4F9F-39DF-491F-DB5F77775686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65666EA6-0AE5-7412-74A4-58920D955C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6554788"/>
            <a:ext cx="120967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A7D968D-5480-329C-FA19-777015C050D1}"/>
              </a:ext>
            </a:extLst>
          </p:cNvPr>
          <p:cNvSpPr/>
          <p:nvPr userDrawn="1"/>
        </p:nvSpPr>
        <p:spPr>
          <a:xfrm rot="16200000" flipH="1" flipV="1">
            <a:off x="-2477294" y="-838994"/>
            <a:ext cx="6846888" cy="4527550"/>
          </a:xfrm>
          <a:prstGeom prst="rect">
            <a:avLst/>
          </a:prstGeom>
          <a:blipFill dpi="0" rotWithShape="1">
            <a:blip r:embed="rId3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1650" y="1308100"/>
            <a:ext cx="6731000" cy="477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DC24E9ED-7F2E-25EC-1585-CC300916F4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F94589-6EC2-468F-A129-64631075AD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5944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DNA Horizonta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6E4247B-5877-9BE2-E901-C1BC7C173F79}"/>
              </a:ext>
            </a:extLst>
          </p:cNvPr>
          <p:cNvSpPr/>
          <p:nvPr userDrawn="1"/>
        </p:nvSpPr>
        <p:spPr>
          <a:xfrm flipV="1">
            <a:off x="-106325" y="-5991238"/>
            <a:ext cx="12395602" cy="12542800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4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E597168F-94CE-8B52-5E4C-8EB084C613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048371" flipH="1">
            <a:off x="1822451" y="1808162"/>
            <a:ext cx="7956550" cy="409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7B63FF-4D95-D875-9E20-2A75E50BC8F7}"/>
              </a:ext>
            </a:extLst>
          </p:cNvPr>
          <p:cNvSpPr/>
          <p:nvPr userDrawn="1"/>
        </p:nvSpPr>
        <p:spPr>
          <a:xfrm>
            <a:off x="0" y="-4763"/>
            <a:ext cx="12288838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8F96FF-5419-29AB-F08F-F2CCF3D2515A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E1DADB4C-7567-8893-0AED-0B2C9BB282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6554788"/>
            <a:ext cx="120967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43130" y="90742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EACD86E2-8D2C-CE2A-FCDC-3C77D7AF2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5BCE4D5-7B22-49EC-A74B-E44DBBD9DC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5930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Conten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9556FA-9E9E-B91B-41FA-562B4B6507FA}"/>
              </a:ext>
            </a:extLst>
          </p:cNvPr>
          <p:cNvSpPr/>
          <p:nvPr userDrawn="1"/>
        </p:nvSpPr>
        <p:spPr>
          <a:xfrm>
            <a:off x="-68365" y="-8547"/>
            <a:ext cx="12340126" cy="1709756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0C3BC1-3B4F-8377-C5B9-32AFFB10EABF}"/>
              </a:ext>
            </a:extLst>
          </p:cNvPr>
          <p:cNvSpPr/>
          <p:nvPr userDrawn="1"/>
        </p:nvSpPr>
        <p:spPr>
          <a:xfrm rot="10800000" flipV="1">
            <a:off x="6018213" y="1701800"/>
            <a:ext cx="7181850" cy="479107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2063750"/>
            <a:ext cx="4937760" cy="3805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4880" y="402926"/>
            <a:ext cx="6904545" cy="913697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B58C752D-88C2-7C45-16D2-382A5FD3B7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74E29D-1617-4E75-90D2-03A30D3C6A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85022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more space) Hexagon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95A0DFE-B5DF-D256-A463-C46A33B3B088}"/>
              </a:ext>
            </a:extLst>
          </p:cNvPr>
          <p:cNvSpPr/>
          <p:nvPr userDrawn="1"/>
        </p:nvSpPr>
        <p:spPr>
          <a:xfrm>
            <a:off x="-68365" y="-119641"/>
            <a:ext cx="12323034" cy="555071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0395" y="49737"/>
            <a:ext cx="7296316" cy="439574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2631" y="785916"/>
            <a:ext cx="6570470" cy="5174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C67997A0-7570-7E34-0218-6F73AE24C3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DB823C-5080-41BE-88E8-8F3B6292C1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6353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on DNA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E2BF959-FCBB-F8A9-6680-80B46E5E7FD9}"/>
              </a:ext>
            </a:extLst>
          </p:cNvPr>
          <p:cNvSpPr/>
          <p:nvPr userDrawn="1"/>
        </p:nvSpPr>
        <p:spPr>
          <a:xfrm>
            <a:off x="-77821" y="-2447924"/>
            <a:ext cx="3065327" cy="9391650"/>
          </a:xfrm>
          <a:prstGeom prst="rect">
            <a:avLst/>
          </a:prstGeom>
          <a:gradFill flip="none" rotWithShape="1">
            <a:gsLst>
              <a:gs pos="3000">
                <a:srgbClr val="10578D"/>
              </a:gs>
              <a:gs pos="81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41492BC8-386D-7E75-052D-8D94294C62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562248">
            <a:off x="-755650" y="474663"/>
            <a:ext cx="3940175" cy="257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EF205EE-505D-E794-F61D-92A4310ACF49}"/>
              </a:ext>
            </a:extLst>
          </p:cNvPr>
          <p:cNvSpPr/>
          <p:nvPr userDrawn="1"/>
        </p:nvSpPr>
        <p:spPr>
          <a:xfrm>
            <a:off x="2987675" y="6494463"/>
            <a:ext cx="9204325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B80A0B1F-4037-E80D-2DEB-4571B8E3B0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80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9310" y="389106"/>
            <a:ext cx="8614909" cy="58463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7091" y="3524978"/>
            <a:ext cx="2360467" cy="2451778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32A11E-1241-358C-8F11-95E4E817D8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2525" y="6546850"/>
            <a:ext cx="541338" cy="2714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05F6F1-7A80-46B1-9C72-4397EC2B0B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2382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us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98D946-9F24-5847-2102-F349B590C985}"/>
              </a:ext>
            </a:extLst>
          </p:cNvPr>
          <p:cNvSpPr/>
          <p:nvPr userDrawn="1"/>
        </p:nvSpPr>
        <p:spPr>
          <a:xfrm>
            <a:off x="-857249" y="-2057400"/>
            <a:ext cx="3460848" cy="8915400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78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373A70-9C34-5472-9237-5788BEEDE4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20560728" flipH="1" flipV="1">
            <a:off x="-843715" y="-334783"/>
            <a:ext cx="2626786" cy="2903211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7E75D2-F03B-832B-99C0-A00ECFD9FF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5400000" flipH="1" flipV="1">
            <a:off x="1378340" y="1817568"/>
            <a:ext cx="1241650" cy="1372313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D540B50-9F40-2A9C-197C-981BE8733F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328" t="14019"/>
          <a:stretch/>
        </p:blipFill>
        <p:spPr>
          <a:xfrm rot="12053022" flipH="1" flipV="1">
            <a:off x="286381" y="2898923"/>
            <a:ext cx="1029886" cy="1138264"/>
          </a:xfrm>
          <a:prstGeom prst="ellipse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15661C0-E55F-B7D7-AB08-C0D29B262442}"/>
              </a:ext>
            </a:extLst>
          </p:cNvPr>
          <p:cNvSpPr/>
          <p:nvPr userDrawn="1"/>
        </p:nvSpPr>
        <p:spPr>
          <a:xfrm>
            <a:off x="2603500" y="6494463"/>
            <a:ext cx="9588500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8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BEB08B0E-CFDB-A57B-7C44-8FB82D0D8E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338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18382" y="36615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63446" y="3553619"/>
            <a:ext cx="2276705" cy="2442331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09C9009F-DD76-55BA-715C-D3502C9F0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42588" y="6492875"/>
            <a:ext cx="13112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D07C09-685C-44C0-B876-2F85411630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28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ACF8FD2-E0E3-4032-E30A-759DEE19BC62}"/>
              </a:ext>
            </a:extLst>
          </p:cNvPr>
          <p:cNvSpPr/>
          <p:nvPr/>
        </p:nvSpPr>
        <p:spPr>
          <a:xfrm>
            <a:off x="-13959" y="-6980"/>
            <a:ext cx="3472776" cy="6932566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6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600" y="3045350"/>
            <a:ext cx="2364552" cy="270344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8817" y="357809"/>
            <a:ext cx="8346583" cy="5899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B461AE4-FF63-0932-E8E2-4256930A38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7025" y="6364288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5531DD0C-580F-43A5-89B7-A0D979AB84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9353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DNA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7B9DE9-C96D-2C7F-FE1D-DDD1B5000469}"/>
              </a:ext>
            </a:extLst>
          </p:cNvPr>
          <p:cNvSpPr/>
          <p:nvPr userDrawn="1"/>
        </p:nvSpPr>
        <p:spPr>
          <a:xfrm>
            <a:off x="-152399" y="-3076575"/>
            <a:ext cx="2972382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721D28-4B23-DC89-6035-58625E64B2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4660426" flipH="1">
            <a:off x="-1636878" y="3078045"/>
            <a:ext cx="5348332" cy="3407122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3D52884F-AACC-4A53-95E4-9D3A5D0C31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877198" flipH="1">
            <a:off x="-1735931" y="4782344"/>
            <a:ext cx="3584575" cy="228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6F658DF-9BE6-607E-076B-344F97C95978}"/>
              </a:ext>
            </a:extLst>
          </p:cNvPr>
          <p:cNvSpPr/>
          <p:nvPr userDrawn="1"/>
        </p:nvSpPr>
        <p:spPr>
          <a:xfrm>
            <a:off x="2819400" y="-400050"/>
            <a:ext cx="9648825" cy="6897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70EC92-FC50-F91E-FD85-177E6A947C82}"/>
              </a:ext>
            </a:extLst>
          </p:cNvPr>
          <p:cNvSpPr/>
          <p:nvPr userDrawn="1"/>
        </p:nvSpPr>
        <p:spPr>
          <a:xfrm>
            <a:off x="2819400" y="6494463"/>
            <a:ext cx="9372600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8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FEEC8F54-813F-2028-4D01-CAFD28805E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5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2300" y="365124"/>
            <a:ext cx="8572500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60881" y="365124"/>
            <a:ext cx="2199923" cy="2540001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2E04AACB-19C4-124E-7CD8-6D8ED8409F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27D732-5E72-4B31-A786-C793A17BF2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0724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Content Vertic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72C5B5-514B-C55C-4799-8A96CC63CE9F}"/>
              </a:ext>
            </a:extLst>
          </p:cNvPr>
          <p:cNvSpPr/>
          <p:nvPr userDrawn="1"/>
        </p:nvSpPr>
        <p:spPr>
          <a:xfrm>
            <a:off x="-152400" y="-3057525"/>
            <a:ext cx="3403599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z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72BA7E-D128-BF99-018D-3CC697435580}"/>
              </a:ext>
            </a:extLst>
          </p:cNvPr>
          <p:cNvSpPr/>
          <p:nvPr userDrawn="1"/>
        </p:nvSpPr>
        <p:spPr>
          <a:xfrm>
            <a:off x="3236913" y="0"/>
            <a:ext cx="9231312" cy="6497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61E0CDF-C2EA-EF90-2378-B9FD52E201AD}"/>
              </a:ext>
            </a:extLst>
          </p:cNvPr>
          <p:cNvSpPr/>
          <p:nvPr userDrawn="1"/>
        </p:nvSpPr>
        <p:spPr>
          <a:xfrm>
            <a:off x="3236913" y="6494463"/>
            <a:ext cx="8955087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B7ED1638-EA28-B327-9025-0E9658D292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688" y="6543675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D3E3EE4-FCF0-D57D-1483-58FD11AB8E56}"/>
              </a:ext>
            </a:extLst>
          </p:cNvPr>
          <p:cNvSpPr/>
          <p:nvPr userDrawn="1"/>
        </p:nvSpPr>
        <p:spPr>
          <a:xfrm rot="5400000">
            <a:off x="-1958975" y="4497388"/>
            <a:ext cx="6143625" cy="4098925"/>
          </a:xfrm>
          <a:prstGeom prst="rect">
            <a:avLst/>
          </a:prstGeom>
          <a:blipFill dpi="0" rotWithShape="1">
            <a:blip r:embed="rId3">
              <a:alphaModFix amt="4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A35974-1E39-8370-837B-CC2CC044BA09}"/>
              </a:ext>
            </a:extLst>
          </p:cNvPr>
          <p:cNvSpPr/>
          <p:nvPr userDrawn="1"/>
        </p:nvSpPr>
        <p:spPr>
          <a:xfrm rot="5400000" flipH="1" flipV="1">
            <a:off x="-1249363" y="-3486150"/>
            <a:ext cx="6143625" cy="4098926"/>
          </a:xfrm>
          <a:prstGeom prst="rect">
            <a:avLst/>
          </a:prstGeom>
          <a:blipFill dpi="0" rotWithShape="1">
            <a:blip r:embed="rId3">
              <a:alphaModFix amt="1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9810" y="365124"/>
            <a:ext cx="7674989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28019" y="1219200"/>
            <a:ext cx="2199923" cy="2209800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BEEAA4B9-4A3C-2F7B-FE61-C82A85936E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57688-F573-44EE-A635-AC8B4B0A10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69042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Content Vertic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84A3FB-70B8-9AE5-EBAE-BD759477DB1C}"/>
              </a:ext>
            </a:extLst>
          </p:cNvPr>
          <p:cNvSpPr/>
          <p:nvPr userDrawn="1"/>
        </p:nvSpPr>
        <p:spPr>
          <a:xfrm>
            <a:off x="-1115785" y="-888274"/>
            <a:ext cx="3821468" cy="7765324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6B22BD-6E61-C01C-61E0-8F9EF47288B0}"/>
              </a:ext>
            </a:extLst>
          </p:cNvPr>
          <p:cNvSpPr/>
          <p:nvPr userDrawn="1"/>
        </p:nvSpPr>
        <p:spPr>
          <a:xfrm rot="16200000" flipH="1" flipV="1">
            <a:off x="-2301875" y="-325438"/>
            <a:ext cx="6143626" cy="4098925"/>
          </a:xfrm>
          <a:prstGeom prst="rect">
            <a:avLst/>
          </a:prstGeom>
          <a:blipFill dpi="0" rotWithShape="1">
            <a:blip r:embed="rId2">
              <a:alphaModFix amt="2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A3BCB2-206E-CE6F-A280-D18EC237C2B6}"/>
              </a:ext>
            </a:extLst>
          </p:cNvPr>
          <p:cNvSpPr/>
          <p:nvPr userDrawn="1"/>
        </p:nvSpPr>
        <p:spPr>
          <a:xfrm>
            <a:off x="2705100" y="0"/>
            <a:ext cx="9486900" cy="6877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5731B4-EA74-BF8C-C87F-9D7B9552402C}"/>
              </a:ext>
            </a:extLst>
          </p:cNvPr>
          <p:cNvSpPr/>
          <p:nvPr userDrawn="1"/>
        </p:nvSpPr>
        <p:spPr>
          <a:xfrm>
            <a:off x="-114300" y="6502400"/>
            <a:ext cx="2819400" cy="365125"/>
          </a:xfrm>
          <a:prstGeom prst="rect">
            <a:avLst/>
          </a:prstGeom>
          <a:gradFill flip="none" rotWithShape="1">
            <a:gsLst>
              <a:gs pos="39000">
                <a:schemeClr val="accent5">
                  <a:lumMod val="20000"/>
                  <a:lumOff val="80000"/>
                </a:schemeClr>
              </a:gs>
              <a:gs pos="79000">
                <a:srgbClr val="10578D"/>
              </a:gs>
              <a:gs pos="100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7D03FF44-BF15-AA38-36A8-CEEA545785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13" y="6556375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2300" y="365124"/>
            <a:ext cx="8572500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7742" y="1724387"/>
            <a:ext cx="2199923" cy="2540001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BF49FF7-4831-FD29-254F-F2425E0A0B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E18DE19-9956-45DC-9B49-DB4A4FEFCF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8131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ntent Vertic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E2E6A6-D706-F3A8-52C2-A5BB19056C40}"/>
              </a:ext>
            </a:extLst>
          </p:cNvPr>
          <p:cNvSpPr/>
          <p:nvPr userDrawn="1"/>
        </p:nvSpPr>
        <p:spPr>
          <a:xfrm>
            <a:off x="-11875" y="-3057525"/>
            <a:ext cx="4038006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6FF826-BAC3-A0DE-FB91-A0751182BC5E}"/>
              </a:ext>
            </a:extLst>
          </p:cNvPr>
          <p:cNvSpPr/>
          <p:nvPr userDrawn="1"/>
        </p:nvSpPr>
        <p:spPr>
          <a:xfrm>
            <a:off x="4033838" y="6494463"/>
            <a:ext cx="8842375" cy="382587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A4151D68-4D50-C448-92F4-FDE5236610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200" y="6557963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2208465-B426-08DB-3965-50399782EE1E}"/>
              </a:ext>
            </a:extLst>
          </p:cNvPr>
          <p:cNvSpPr/>
          <p:nvPr userDrawn="1"/>
        </p:nvSpPr>
        <p:spPr>
          <a:xfrm rot="5400000">
            <a:off x="-883444" y="-754857"/>
            <a:ext cx="5767388" cy="4022726"/>
          </a:xfrm>
          <a:prstGeom prst="rect">
            <a:avLst/>
          </a:prstGeom>
          <a:blipFill>
            <a:blip r:embed="rId3">
              <a:alphaModFix amt="6000"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6641" y="526489"/>
            <a:ext cx="7299952" cy="55598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60881" y="365124"/>
            <a:ext cx="3288668" cy="2109135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bg1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A09D34-8508-5A05-BAC0-ECCC8013E0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493FB-7C7A-4AC8-AB64-4EEE258B5F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4429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ntent Vertic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D036FE7-0707-8FF8-B763-57535866CC04}"/>
              </a:ext>
            </a:extLst>
          </p:cNvPr>
          <p:cNvSpPr/>
          <p:nvPr userDrawn="1"/>
        </p:nvSpPr>
        <p:spPr>
          <a:xfrm>
            <a:off x="7021585" y="-1"/>
            <a:ext cx="5170416" cy="6912591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4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32646" y="365124"/>
            <a:ext cx="4302154" cy="58511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08128" y="272042"/>
            <a:ext cx="6356256" cy="592024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98450" y="1123950"/>
            <a:ext cx="6203950" cy="501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AC98B764-C779-4638-E75F-352ABFDBD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A8BFC02-51B1-4AB9-9508-FCB4062959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0377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ntent Vertic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E626D7E-DD71-9EF1-8C86-B620FD2EC1AC}"/>
              </a:ext>
            </a:extLst>
          </p:cNvPr>
          <p:cNvSpPr/>
          <p:nvPr userDrawn="1"/>
        </p:nvSpPr>
        <p:spPr>
          <a:xfrm>
            <a:off x="3022898" y="-3441699"/>
            <a:ext cx="9169101" cy="10778414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4720" y="365124"/>
            <a:ext cx="8260080" cy="55598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08128" y="272042"/>
            <a:ext cx="2199923" cy="2507092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546ADD3-8E69-7938-B42D-5E61E77150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515BB02-3985-4759-90D6-B9E6E66379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08308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 DNA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F1B9968C-913E-1177-4642-344275BCA3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18"/>
          <a:stretch>
            <a:fillRect/>
          </a:stretch>
        </p:blipFill>
        <p:spPr bwMode="auto">
          <a:xfrm>
            <a:off x="-11113" y="-150813"/>
            <a:ext cx="3314701" cy="697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0F97DFA-4405-1C7B-C2CB-8FB5CE341377}"/>
              </a:ext>
            </a:extLst>
          </p:cNvPr>
          <p:cNvSpPr/>
          <p:nvPr userDrawn="1"/>
        </p:nvSpPr>
        <p:spPr>
          <a:xfrm>
            <a:off x="2819982" y="-3441699"/>
            <a:ext cx="9372018" cy="9934575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F01B81-FA65-1A7E-8647-A5958DCDA13A}"/>
              </a:ext>
            </a:extLst>
          </p:cNvPr>
          <p:cNvSpPr/>
          <p:nvPr userDrawn="1"/>
        </p:nvSpPr>
        <p:spPr>
          <a:xfrm>
            <a:off x="2819400" y="6494463"/>
            <a:ext cx="9372600" cy="365125"/>
          </a:xfrm>
          <a:prstGeom prst="rect">
            <a:avLst/>
          </a:prstGeom>
          <a:gradFill flip="none" rotWithShape="1">
            <a:gsLst>
              <a:gs pos="9000">
                <a:schemeClr val="accent5">
                  <a:lumMod val="20000"/>
                  <a:lumOff val="80000"/>
                </a:schemeClr>
              </a:gs>
              <a:gs pos="38000">
                <a:srgbClr val="10578D"/>
              </a:gs>
              <a:gs pos="78000">
                <a:srgbClr val="04182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8A31D604-6161-9C33-2788-938BF67157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5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1243404-E4ED-63CC-061B-5E158A5B0A2E}"/>
              </a:ext>
            </a:extLst>
          </p:cNvPr>
          <p:cNvSpPr/>
          <p:nvPr userDrawn="1"/>
        </p:nvSpPr>
        <p:spPr>
          <a:xfrm>
            <a:off x="-34925" y="6492875"/>
            <a:ext cx="12226925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50861BB1-8336-A98A-59FB-F31416F0C7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13" y="6546850"/>
            <a:ext cx="1209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2300" y="365124"/>
            <a:ext cx="8572500" cy="55598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08128" y="272042"/>
            <a:ext cx="2199923" cy="2507092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2BA4F603-82FD-E21C-D1B0-2D3CF254DF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38484DA-4F52-43A2-975F-0E89AF261B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8111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als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9D03574F-12D6-8B20-FC91-CE6FB9A953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74900" y="-577850"/>
            <a:ext cx="6308725" cy="466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60F34DB-2ED9-FB89-0EA4-AD251C086C90}"/>
              </a:ext>
            </a:extLst>
          </p:cNvPr>
          <p:cNvSpPr/>
          <p:nvPr userDrawn="1"/>
        </p:nvSpPr>
        <p:spPr>
          <a:xfrm>
            <a:off x="2715905" y="-74427"/>
            <a:ext cx="9476096" cy="6987018"/>
          </a:xfrm>
          <a:prstGeom prst="rect">
            <a:avLst/>
          </a:prstGeom>
          <a:gradFill flip="none" rotWithShape="1">
            <a:gsLst>
              <a:gs pos="0">
                <a:srgbClr val="10578D"/>
              </a:gs>
              <a:gs pos="64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4720" y="365124"/>
            <a:ext cx="8260080" cy="55598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00754" y="3560932"/>
            <a:ext cx="2199923" cy="2507092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Myriad Pro Black SemiCond" panose="020B09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49DAC5E2-13CE-B3A1-A331-5D6307BF8B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8D63575-8211-4501-89D7-256DC06AA7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6041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6A0EFC-2378-BDA7-B3DD-8C69931D84BC}"/>
              </a:ext>
            </a:extLst>
          </p:cNvPr>
          <p:cNvSpPr/>
          <p:nvPr userDrawn="1"/>
        </p:nvSpPr>
        <p:spPr>
          <a:xfrm flipV="1">
            <a:off x="-58365" y="-116732"/>
            <a:ext cx="12289277" cy="6609606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10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4A3937-4DD2-DA6F-58B7-8CF23BDEBB52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64236DA7-DCDF-0C3D-6919-7DDA3AF9FE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6554788"/>
            <a:ext cx="120967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49241642-F658-664F-F2ED-0DEE3EDE45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29975" y="6542088"/>
            <a:ext cx="623888" cy="25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11351A4-AB57-4CF4-B32A-5A770747F6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9161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Content Vertic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E797C2-B6F2-536E-A398-71265685C6B9}"/>
              </a:ext>
            </a:extLst>
          </p:cNvPr>
          <p:cNvSpPr/>
          <p:nvPr/>
        </p:nvSpPr>
        <p:spPr>
          <a:xfrm>
            <a:off x="8113594" y="-3057525"/>
            <a:ext cx="4167077" cy="10024707"/>
          </a:xfrm>
          <a:prstGeom prst="rect">
            <a:avLst/>
          </a:prstGeom>
          <a:gradFill flip="none" rotWithShape="1">
            <a:gsLst>
              <a:gs pos="16000">
                <a:srgbClr val="10578D"/>
              </a:gs>
              <a:gs pos="70000">
                <a:srgbClr val="04182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F5549F-73D1-C7AE-722E-0F8F7FC4CE46}"/>
              </a:ext>
            </a:extLst>
          </p:cNvPr>
          <p:cNvSpPr/>
          <p:nvPr/>
        </p:nvSpPr>
        <p:spPr>
          <a:xfrm rot="5400000">
            <a:off x="7001669" y="-415131"/>
            <a:ext cx="6689725" cy="4427537"/>
          </a:xfrm>
          <a:prstGeom prst="rect">
            <a:avLst/>
          </a:prstGeom>
          <a:blipFill>
            <a:blip r:embed="rId2">
              <a:alphaModFix amt="6000"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613DD4-CB3F-CC9F-4B4B-3D0D21080DAB}"/>
              </a:ext>
            </a:extLst>
          </p:cNvPr>
          <p:cNvSpPr/>
          <p:nvPr userDrawn="1"/>
        </p:nvSpPr>
        <p:spPr>
          <a:xfrm rot="16200000" flipV="1">
            <a:off x="6796087" y="-201612"/>
            <a:ext cx="6691313" cy="4427538"/>
          </a:xfrm>
          <a:prstGeom prst="rect">
            <a:avLst/>
          </a:prstGeom>
          <a:blipFill>
            <a:blip r:embed="rId2">
              <a:alphaModFix amt="6000"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94773" y="194528"/>
            <a:ext cx="7539352" cy="794936"/>
          </a:xfrm>
        </p:spPr>
        <p:txBody>
          <a:bodyPr>
            <a:normAutofit/>
          </a:bodyPr>
          <a:lstStyle>
            <a:lvl1pPr marL="0">
              <a:defRPr sz="320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2CD0A9CE-6CA5-4153-A4B7-9BA33339D6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9025" y="6530975"/>
            <a:ext cx="604838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307284-EC20-4DAB-A18D-1023C55885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177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55" Type="http://schemas.openxmlformats.org/officeDocument/2006/relationships/slideLayout" Target="../slideLayouts/slideLayout114.xml"/><Relationship Id="rId63" Type="http://schemas.openxmlformats.org/officeDocument/2006/relationships/image" Target="../media/image1.png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3" Type="http://schemas.openxmlformats.org/officeDocument/2006/relationships/slideLayout" Target="../slideLayouts/slideLayout112.xml"/><Relationship Id="rId58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64.xml"/><Relationship Id="rId61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56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59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100.xml"/><Relationship Id="rId54" Type="http://schemas.openxmlformats.org/officeDocument/2006/relationships/slideLayout" Target="../slideLayouts/slideLayout113.xml"/><Relationship Id="rId62" Type="http://schemas.openxmlformats.org/officeDocument/2006/relationships/theme" Target="../theme/theme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57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slideLayout" Target="../slideLayouts/slideLayout111.xml"/><Relationship Id="rId6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>
            <a:extLst>
              <a:ext uri="{FF2B5EF4-FFF2-40B4-BE49-F238E27FC236}">
                <a16:creationId xmlns:a16="http://schemas.microsoft.com/office/drawing/2014/main" id="{FA6BAD21-5113-481A-A07B-5536CAD3FF5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5" name="Text Placeholder 2">
            <a:extLst>
              <a:ext uri="{FF2B5EF4-FFF2-40B4-BE49-F238E27FC236}">
                <a16:creationId xmlns:a16="http://schemas.microsoft.com/office/drawing/2014/main" id="{E6FB475B-EE35-0327-AFA3-950C5A08DAD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9989E2-DB17-CED2-C98F-5CC11679FE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3077" name="Picture 6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78EB8A8A-3B8F-5F47-B976-A3A4D7C9E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6763" y="6486525"/>
            <a:ext cx="573087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C76E54-8009-FC9C-26AC-3DAD9AF097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1675" y="6364288"/>
            <a:ext cx="1101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F56FA42C-C422-4A19-A682-69F7FEE470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A8FA14-230D-5490-2334-ADFA573235AB}"/>
              </a:ext>
            </a:extLst>
          </p:cNvPr>
          <p:cNvCxnSpPr>
            <a:cxnSpLocks/>
          </p:cNvCxnSpPr>
          <p:nvPr/>
        </p:nvCxnSpPr>
        <p:spPr>
          <a:xfrm>
            <a:off x="11595100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4935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SzPct val="7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>
            <a:extLst>
              <a:ext uri="{FF2B5EF4-FFF2-40B4-BE49-F238E27FC236}">
                <a16:creationId xmlns:a16="http://schemas.microsoft.com/office/drawing/2014/main" id="{551ED5F6-2B26-BAB9-CE4F-97A7F768D6B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Text Placeholder 2">
            <a:extLst>
              <a:ext uri="{FF2B5EF4-FFF2-40B4-BE49-F238E27FC236}">
                <a16:creationId xmlns:a16="http://schemas.microsoft.com/office/drawing/2014/main" id="{03D6BE2A-CF2E-411E-14A0-7BF7F36BA1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9DC461-6177-8324-4863-EE636E5273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4101" name="Picture 6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FCF91973-F038-770A-0369-FC16342BF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4600" y="6656388"/>
            <a:ext cx="471488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79931F-A61A-C759-B3D3-D6C4649EA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7650" y="6565900"/>
            <a:ext cx="381000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>
              <a:defRPr/>
            </a:pPr>
            <a:fld id="{641EA2E5-5B27-4590-9AF2-4916B51E0C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0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Montserrat" panose="00000500000000000000" pitchFamily="2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17145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SzPct val="90000"/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SzPct val="89000"/>
        <a:buFont typeface="Courier New" panose="02070309020205020404" pitchFamily="49" charset="0"/>
        <a:buChar char="o"/>
        <a:tabLst>
          <a:tab pos="798513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17145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v"/>
        <a:tabLst>
          <a:tab pos="688975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169863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D056BC-D965-0B34-294A-591812BEC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0337F7-3BE6-699E-B49F-D2C3CB9458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BEE19D-A3C0-CE23-A9A3-907B6B6F3A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0A068A8-0CD4-4856-AED9-AEA0C2FE44F2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624C86-4E77-47C3-F991-50EC5CC16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20683-E869-7724-36C9-86F99901D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796675-B3B4-4896-AC7F-5F56588478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04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E3B8ECF0-C36C-8FF4-A9CF-1D62E6BAE3A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0F36644-31E7-3D07-8051-F540324214B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753B42-264B-697B-A272-4E486DCF60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1029" name="Picture 6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5E736BBE-813B-1C5A-63E2-BB354F057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6763" y="6486525"/>
            <a:ext cx="573087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49E30-EA98-F0DE-CE85-0F79CA5314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1675" y="6364288"/>
            <a:ext cx="1101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ACF0CD8C-E89D-4A9E-A4A5-1FD5C44998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E9ED87C-5E4D-9CF5-F4C4-0CC6BD7583B3}"/>
              </a:ext>
            </a:extLst>
          </p:cNvPr>
          <p:cNvCxnSpPr>
            <a:cxnSpLocks/>
          </p:cNvCxnSpPr>
          <p:nvPr/>
        </p:nvCxnSpPr>
        <p:spPr>
          <a:xfrm>
            <a:off x="11595100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762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Poppins" pitchFamily="2" charset="77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oppins" panose="00000500000000000000" pitchFamily="2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3803CC13-1DD9-98A5-F075-B9D6075A3E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69F51BF5-F118-5B86-9FBB-4BB4F31B2D6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C431E-78CB-D455-E13B-412C0D85CF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2053" name="Picture 6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5F502750-7D10-E676-3D35-2BA3995374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6763" y="6486525"/>
            <a:ext cx="573087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251D34-749D-9592-DC42-4523CE55AF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1675" y="6364288"/>
            <a:ext cx="1101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C8235C68-7D1E-4BA7-A79D-FC17B7FC29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CDC2D5-02A9-0182-17BB-2E2A6851852F}"/>
              </a:ext>
            </a:extLst>
          </p:cNvPr>
          <p:cNvCxnSpPr>
            <a:cxnSpLocks/>
          </p:cNvCxnSpPr>
          <p:nvPr/>
        </p:nvCxnSpPr>
        <p:spPr>
          <a:xfrm>
            <a:off x="11595100" y="6454775"/>
            <a:ext cx="0" cy="18256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655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785" r:id="rId37"/>
    <p:sldLayoutId id="2147483786" r:id="rId38"/>
    <p:sldLayoutId id="2147483787" r:id="rId39"/>
    <p:sldLayoutId id="2147483788" r:id="rId40"/>
    <p:sldLayoutId id="2147483789" r:id="rId41"/>
    <p:sldLayoutId id="2147483790" r:id="rId42"/>
    <p:sldLayoutId id="2147483791" r:id="rId43"/>
    <p:sldLayoutId id="2147483792" r:id="rId44"/>
    <p:sldLayoutId id="2147483793" r:id="rId45"/>
    <p:sldLayoutId id="2147483794" r:id="rId46"/>
    <p:sldLayoutId id="2147483795" r:id="rId47"/>
    <p:sldLayoutId id="2147483796" r:id="rId48"/>
    <p:sldLayoutId id="2147483797" r:id="rId49"/>
    <p:sldLayoutId id="2147483798" r:id="rId50"/>
    <p:sldLayoutId id="2147483799" r:id="rId51"/>
    <p:sldLayoutId id="2147483800" r:id="rId52"/>
    <p:sldLayoutId id="2147483801" r:id="rId53"/>
    <p:sldLayoutId id="2147483802" r:id="rId54"/>
    <p:sldLayoutId id="2147483803" r:id="rId55"/>
    <p:sldLayoutId id="2147483804" r:id="rId56"/>
    <p:sldLayoutId id="2147483805" r:id="rId57"/>
    <p:sldLayoutId id="2147483806" r:id="rId58"/>
    <p:sldLayoutId id="2147483807" r:id="rId59"/>
    <p:sldLayoutId id="2147483808" r:id="rId60"/>
    <p:sldLayoutId id="2147483809" r:id="rId6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Poppins" panose="00000500000000000000" pitchFamily="2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SzPct val="7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52945C-2625-8027-681F-10CAD3352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A5E50D-0B03-FDFD-FB3C-D2FDFC9F8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7D8403-1898-84BB-8492-8A93792FB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6" descr="A picture containing text, clock, sunset, close&#10;&#10;Description automatically generated">
            <a:extLst>
              <a:ext uri="{FF2B5EF4-FFF2-40B4-BE49-F238E27FC236}">
                <a16:creationId xmlns:a16="http://schemas.microsoft.com/office/drawing/2014/main" id="{1C141F1B-E384-7029-952A-5820A474369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101" y="6656832"/>
            <a:ext cx="471701" cy="9776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D3CF61-D63E-2D61-82FB-53909B8B5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888" y="6552866"/>
            <a:ext cx="381000" cy="2163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F6F643EC-EB04-4D14-B81E-B0C9C0A14E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79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9000"/>
        <a:buFont typeface="Courier New" panose="02070309020205020404" pitchFamily="49" charset="0"/>
        <a:buChar char="o"/>
        <a:tabLst>
          <a:tab pos="798513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v"/>
        <a:tabLst>
          <a:tab pos="688975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169863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52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6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74.png"/><Relationship Id="rId4" Type="http://schemas.openxmlformats.org/officeDocument/2006/relationships/image" Target="../media/image7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7.png"/><Relationship Id="rId5" Type="http://schemas.openxmlformats.org/officeDocument/2006/relationships/hyperlink" Target="https://pubmed.ncbi.nlm.nih.gov/37791765/" TargetMode="External"/><Relationship Id="rId4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67.png"/><Relationship Id="rId3" Type="http://schemas.openxmlformats.org/officeDocument/2006/relationships/image" Target="../media/image59.png"/><Relationship Id="rId7" Type="http://schemas.openxmlformats.org/officeDocument/2006/relationships/image" Target="../media/image62.png"/><Relationship Id="rId12" Type="http://schemas.openxmlformats.org/officeDocument/2006/relationships/image" Target="../media/image66.pn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69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61.png"/><Relationship Id="rId11" Type="http://schemas.openxmlformats.org/officeDocument/2006/relationships/image" Target="../media/image65.png"/><Relationship Id="rId5" Type="http://schemas.microsoft.com/office/2007/relationships/hdphoto" Target="../media/hdphoto1.wdp"/><Relationship Id="rId15" Type="http://schemas.openxmlformats.org/officeDocument/2006/relationships/image" Target="../media/image68.png"/><Relationship Id="rId10" Type="http://schemas.openxmlformats.org/officeDocument/2006/relationships/image" Target="../media/image64.png"/><Relationship Id="rId4" Type="http://schemas.openxmlformats.org/officeDocument/2006/relationships/image" Target="../media/image60.png"/><Relationship Id="rId9" Type="http://schemas.openxmlformats.org/officeDocument/2006/relationships/image" Target="../media/image63.png"/><Relationship Id="rId1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22C64F-C2A8-5080-CD7A-82A36D62F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4494" y="705299"/>
            <a:ext cx="8041339" cy="1720053"/>
          </a:xfrm>
        </p:spPr>
        <p:txBody>
          <a:bodyPr/>
          <a:lstStyle/>
          <a:p>
            <a:pPr algn="l"/>
            <a:br>
              <a:rPr lang="en-US" sz="3200" b="1" i="0" u="none" strike="noStrike" baseline="0" dirty="0">
                <a:solidFill>
                  <a:srgbClr val="003B4B"/>
                </a:solidFill>
                <a:latin typeface="Montserrat" panose="00000500000000000000" pitchFamily="2" charset="0"/>
              </a:rPr>
            </a:br>
            <a:br>
              <a:rPr lang="en-US" sz="3200" b="1" i="0" u="none" strike="noStrike" baseline="0" dirty="0">
                <a:solidFill>
                  <a:srgbClr val="003B4B"/>
                </a:solidFill>
                <a:latin typeface="Montserrat" panose="00000500000000000000" pitchFamily="2" charset="0"/>
              </a:rPr>
            </a:br>
            <a:r>
              <a:rPr lang="en-US" sz="3600" b="1" i="0" u="none" strike="noStrike" baseline="0" dirty="0">
                <a:solidFill>
                  <a:srgbClr val="003B4B"/>
                </a:solidFill>
                <a:latin typeface="Montserrat" panose="00000500000000000000" pitchFamily="2" charset="0"/>
              </a:rPr>
              <a:t>What If Delivery Is the Missing Link In Cancer Immunotherapy?</a:t>
            </a:r>
            <a:endParaRPr lang="en-US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FA6D4E-2317-F8B1-53CE-58985F162C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93460" y="2425352"/>
            <a:ext cx="7272290" cy="485020"/>
          </a:xfrm>
        </p:spPr>
        <p:txBody>
          <a:bodyPr>
            <a:noAutofit/>
          </a:bodyPr>
          <a:lstStyle/>
          <a:p>
            <a:pPr algn="l"/>
            <a:r>
              <a:rPr lang="en-US" b="1" i="1" u="none" strike="noStrike" baseline="0" dirty="0">
                <a:solidFill>
                  <a:srgbClr val="003B4B"/>
                </a:solidFill>
                <a:latin typeface="Montserrat" panose="00000500000000000000" pitchFamily="2" charset="0"/>
              </a:rPr>
              <a:t>Insights from DNA Cancer Vaccine Trials Using Needle-Free Injection Delivery</a:t>
            </a:r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0462549-D7F0-023C-3F98-72B559EB20A7}"/>
              </a:ext>
            </a:extLst>
          </p:cNvPr>
          <p:cNvSpPr txBox="1">
            <a:spLocks/>
          </p:cNvSpPr>
          <p:nvPr/>
        </p:nvSpPr>
        <p:spPr>
          <a:xfrm>
            <a:off x="3062377" y="4145405"/>
            <a:ext cx="8788893" cy="4850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9000"/>
              <a:buFont typeface="Courier New" panose="02070309020205020404" pitchFamily="49" charset="0"/>
              <a:buNone/>
              <a:tabLst>
                <a:tab pos="798513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None/>
              <a:tabLst>
                <a:tab pos="688975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79ACD4"/>
                </a:solidFill>
                <a:latin typeface="Montserrat" panose="00000500000000000000" pitchFamily="2" charset="0"/>
              </a:rPr>
              <a:t>Cancer &amp; Immunotherapy Vaccines</a:t>
            </a:r>
            <a:br>
              <a:rPr lang="en-US" sz="1600" b="0" dirty="0">
                <a:solidFill>
                  <a:srgbClr val="79ACD4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79ACD4"/>
                </a:solidFill>
                <a:latin typeface="Montserrat" panose="00000500000000000000" pitchFamily="2" charset="0"/>
              </a:rPr>
              <a:t>World Vaccine Congress, Washington DC</a:t>
            </a:r>
            <a:br>
              <a:rPr lang="en-US" sz="1600" b="0" dirty="0">
                <a:solidFill>
                  <a:srgbClr val="79ACD4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79ACD4"/>
                </a:solidFill>
                <a:latin typeface="Montserrat" panose="00000500000000000000" pitchFamily="2" charset="0"/>
              </a:rPr>
              <a:t>April 23, 2025</a:t>
            </a:r>
            <a:endParaRPr lang="en-US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781932-9272-F008-F7F7-19172FF26AA3}"/>
              </a:ext>
            </a:extLst>
          </p:cNvPr>
          <p:cNvSpPr txBox="1"/>
          <p:nvPr/>
        </p:nvSpPr>
        <p:spPr>
          <a:xfrm>
            <a:off x="9697571" y="6597759"/>
            <a:ext cx="330125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7270" algn="ctr"/>
            <a:r>
              <a:rPr lang="en-US" sz="1000" b="0" i="0" u="none" strike="noStrike" baseline="0" dirty="0">
                <a:latin typeface="Segoe UI" panose="020B0502040204020203" pitchFamily="34" charset="0"/>
              </a:rPr>
              <a:t> Doc. #60-10373-031AC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251871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06319C-D76A-A5FD-C316-2C4005B2B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2C03F528-196D-B017-C13A-B49CAFFDA31E}"/>
              </a:ext>
            </a:extLst>
          </p:cNvPr>
          <p:cNvSpPr txBox="1"/>
          <p:nvPr/>
        </p:nvSpPr>
        <p:spPr>
          <a:xfrm>
            <a:off x="1136029" y="5012829"/>
            <a:ext cx="50792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1400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Patients that were </a:t>
            </a:r>
            <a:r>
              <a:rPr lang="en-US" sz="1400" b="1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PD-L1+ (N=24) experienced the highest clinical benefit</a:t>
            </a:r>
            <a:r>
              <a:rPr lang="en-US" sz="1400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, demonstrating a 75% disease control rate (DCR)</a:t>
            </a:r>
          </a:p>
        </p:txBody>
      </p:sp>
      <p:sp>
        <p:nvSpPr>
          <p:cNvPr id="185347" name="Slide Number Placeholder 6">
            <a:extLst>
              <a:ext uri="{FF2B5EF4-FFF2-40B4-BE49-F238E27FC236}">
                <a16:creationId xmlns:a16="http://schemas.microsoft.com/office/drawing/2014/main" id="{F73B1A87-A9F9-58D4-4EA1-2645EC74CED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9BF1B4-F7BE-4CE7-AA66-F475A0431040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E21E328-9D50-79A0-2158-B4E314BC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277" y="59948"/>
            <a:ext cx="12018723" cy="1166191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defRPr/>
            </a:pPr>
            <a:r>
              <a:rPr lang="en-US" sz="2800" b="1" dirty="0"/>
              <a:t>Stratis IM Delivery of HPV DNA Vaccine (VB10.16) Induced T Cell Responses and Disease Control In Advanced Cervical Cancer</a:t>
            </a:r>
            <a:endParaRPr lang="en-US" sz="2800" b="1" i="1" dirty="0">
              <a:solidFill>
                <a:schemeClr val="tx2">
                  <a:lumMod val="25000"/>
                  <a:lumOff val="75000"/>
                </a:schemeClr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9622DC4-EFC1-6E7E-B41B-208BA338C6A6}"/>
              </a:ext>
            </a:extLst>
          </p:cNvPr>
          <p:cNvSpPr txBox="1"/>
          <p:nvPr/>
        </p:nvSpPr>
        <p:spPr>
          <a:xfrm>
            <a:off x="0" y="6637045"/>
            <a:ext cx="11177337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600" b="0" i="0" u="none" strike="noStrike" baseline="0" dirty="0">
                <a:latin typeface="HelveticaNeueLTStd-Cn"/>
              </a:rPr>
              <a:t>Hillemanns P. , Zikan M., Forget F. , </a:t>
            </a:r>
            <a:r>
              <a:rPr lang="en-US" sz="600" b="0" i="1" u="none" strike="noStrike" baseline="0" dirty="0">
                <a:latin typeface="HelveticaNeueLTStd-CnO"/>
              </a:rPr>
              <a:t>et al</a:t>
            </a:r>
            <a:r>
              <a:rPr lang="en-US" sz="600" b="0" i="0" u="none" strike="noStrike" baseline="0" dirty="0">
                <a:latin typeface="HelveticaNeueLTStd-Cn"/>
              </a:rPr>
              <a:t>. (2025). Safety and efficacy of the therapeutic DNA-based vaccine VB10.16 in combination with atezolizumab in persistent, recurrent or metastatic HPV16-positive cervical cancer: a multicenter, single-arm phase 2a study </a:t>
            </a:r>
            <a:r>
              <a:rPr lang="en-US" sz="600" b="0" i="1" u="none" strike="noStrike" baseline="0" dirty="0">
                <a:latin typeface="HelveticaNeueLTStd-CnO"/>
              </a:rPr>
              <a:t>Journal for </a:t>
            </a:r>
            <a:r>
              <a:rPr lang="en-US" sz="600" b="0" i="1" u="none" strike="noStrike" baseline="0" dirty="0" err="1">
                <a:latin typeface="HelveticaNeueLTStd-CnO"/>
              </a:rPr>
              <a:t>Immuno</a:t>
            </a:r>
            <a:r>
              <a:rPr lang="en-US" sz="600" b="0" i="1" u="none" strike="noStrike" baseline="0" dirty="0">
                <a:latin typeface="HelveticaNeueLTStd-CnO"/>
              </a:rPr>
              <a:t> Therapy of Cancer</a:t>
            </a:r>
            <a:r>
              <a:rPr lang="en-US" sz="600" b="0" i="0" u="none" strike="noStrike" baseline="0" dirty="0">
                <a:latin typeface="HelveticaNeueLTStd-Cn"/>
              </a:rPr>
              <a:t>;</a:t>
            </a:r>
            <a:r>
              <a:rPr lang="en-US" sz="600" b="0" i="0" u="none" strike="noStrike" baseline="0" dirty="0">
                <a:latin typeface="HelveticaNeueLTStd-BdCn"/>
              </a:rPr>
              <a:t>13</a:t>
            </a:r>
            <a:r>
              <a:rPr lang="en-US" sz="600" b="0" i="0" u="none" strike="noStrike" baseline="0" dirty="0">
                <a:latin typeface="HelveticaNeueLTStd-Cn"/>
              </a:rPr>
              <a:t>:e010827. 1-10.</a:t>
            </a:r>
            <a:endParaRPr lang="en-US" sz="600" b="0" dirty="0"/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B621B319-1FC3-3FCE-0EE4-26A353E3ED18}"/>
              </a:ext>
            </a:extLst>
          </p:cNvPr>
          <p:cNvGraphicFramePr>
            <a:graphicFrameLocks noGrp="1"/>
          </p:cNvGraphicFramePr>
          <p:nvPr/>
        </p:nvGraphicFramePr>
        <p:xfrm>
          <a:off x="1231920" y="2901664"/>
          <a:ext cx="4843137" cy="16490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43639">
                  <a:extLst>
                    <a:ext uri="{9D8B030D-6E8A-4147-A177-3AD203B41FA5}">
                      <a16:colId xmlns:a16="http://schemas.microsoft.com/office/drawing/2014/main" val="1565128295"/>
                    </a:ext>
                  </a:extLst>
                </a:gridCol>
                <a:gridCol w="528003">
                  <a:extLst>
                    <a:ext uri="{9D8B030D-6E8A-4147-A177-3AD203B41FA5}">
                      <a16:colId xmlns:a16="http://schemas.microsoft.com/office/drawing/2014/main" val="2110686775"/>
                    </a:ext>
                  </a:extLst>
                </a:gridCol>
                <a:gridCol w="2071495">
                  <a:extLst>
                    <a:ext uri="{9D8B030D-6E8A-4147-A177-3AD203B41FA5}">
                      <a16:colId xmlns:a16="http://schemas.microsoft.com/office/drawing/2014/main" val="3698169362"/>
                    </a:ext>
                  </a:extLst>
                </a:gridCol>
              </a:tblGrid>
              <a:tr h="423910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b="1" u="none" strike="noStrike" dirty="0">
                          <a:effectLst/>
                        </a:rPr>
                        <a:t>Population/subgroup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DCR (95% CI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550965"/>
                  </a:ext>
                </a:extLst>
              </a:tr>
              <a:tr h="408373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All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7*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59.6 (44.3 to 73.6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130603"/>
                  </a:ext>
                </a:extLst>
              </a:tr>
              <a:tr h="408373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PD-L1+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5.0 (53.3 to 90.2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194057"/>
                  </a:ext>
                </a:extLst>
              </a:tr>
              <a:tr h="408373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PD-L1−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50.0 (24.7 to 75.3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9D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34319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01C7B682-6513-17F0-097F-3FDC34CEDABD}"/>
              </a:ext>
            </a:extLst>
          </p:cNvPr>
          <p:cNvSpPr/>
          <p:nvPr/>
        </p:nvSpPr>
        <p:spPr>
          <a:xfrm>
            <a:off x="1165606" y="3776893"/>
            <a:ext cx="4951340" cy="2764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D08542-DCFA-35DD-FA0C-750D8D260545}"/>
              </a:ext>
            </a:extLst>
          </p:cNvPr>
          <p:cNvSpPr txBox="1"/>
          <p:nvPr/>
        </p:nvSpPr>
        <p:spPr>
          <a:xfrm>
            <a:off x="7643022" y="1720795"/>
            <a:ext cx="34265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HPV16-specific T cell responses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in relation to clinical outcom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(N=36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33E49D-72EF-3B57-9C2F-B3FD1D7EB308}"/>
              </a:ext>
            </a:extLst>
          </p:cNvPr>
          <p:cNvSpPr txBox="1"/>
          <p:nvPr/>
        </p:nvSpPr>
        <p:spPr>
          <a:xfrm>
            <a:off x="2782548" y="4550693"/>
            <a:ext cx="329250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NeueLTStd-Roman"/>
                <a:ea typeface="+mn-ea"/>
                <a:cs typeface="+mn-cs"/>
              </a:rPr>
              <a:t>* PD-L1 expression status is missing for seven patie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920580-E23E-2802-CEE7-FB6646A218E2}"/>
              </a:ext>
            </a:extLst>
          </p:cNvPr>
          <p:cNvSpPr txBox="1"/>
          <p:nvPr/>
        </p:nvSpPr>
        <p:spPr>
          <a:xfrm>
            <a:off x="7444463" y="5361612"/>
            <a:ext cx="382369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atients with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isease contro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d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ignificantl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igher HPV-specific T cell responses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(p = 0.011)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88F0A8A-CD77-96A1-EB8D-F4CCBA551F51}"/>
              </a:ext>
            </a:extLst>
          </p:cNvPr>
          <p:cNvSpPr/>
          <p:nvPr/>
        </p:nvSpPr>
        <p:spPr>
          <a:xfrm>
            <a:off x="7238960" y="1629906"/>
            <a:ext cx="4182039" cy="4499589"/>
          </a:xfrm>
          <a:prstGeom prst="roundRect">
            <a:avLst/>
          </a:prstGeom>
          <a:noFill/>
          <a:ln w="28575"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AF48EFC-4DC3-9C37-FECB-42BE6CB511A3}"/>
              </a:ext>
            </a:extLst>
          </p:cNvPr>
          <p:cNvSpPr txBox="1"/>
          <p:nvPr/>
        </p:nvSpPr>
        <p:spPr>
          <a:xfrm>
            <a:off x="2153731" y="2415634"/>
            <a:ext cx="31584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2">
                    <a:lumMod val="90000"/>
                    <a:lumOff val="10000"/>
                  </a:schemeClr>
                </a:solidFill>
                <a:latin typeface="Segoe UI" panose="020B0502040204020203" pitchFamily="34" charset="0"/>
              </a:rPr>
              <a:t>Summary of Disease Control Rat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7257018-3017-5D64-4280-B6D5B7C6CA9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585"/>
          <a:stretch/>
        </p:blipFill>
        <p:spPr>
          <a:xfrm>
            <a:off x="7934159" y="2432540"/>
            <a:ext cx="2844295" cy="2857224"/>
          </a:xfrm>
          <a:prstGeom prst="rect">
            <a:avLst/>
          </a:prstGeom>
          <a:solidFill>
            <a:srgbClr val="C9DEEE"/>
          </a:solidFill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D517F9D-833E-FA8C-D273-CA40466BDD3B}"/>
              </a:ext>
            </a:extLst>
          </p:cNvPr>
          <p:cNvSpPr/>
          <p:nvPr/>
        </p:nvSpPr>
        <p:spPr>
          <a:xfrm>
            <a:off x="7777482" y="2244439"/>
            <a:ext cx="286618" cy="300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7" name="Picture 18">
            <a:extLst>
              <a:ext uri="{FF2B5EF4-FFF2-40B4-BE49-F238E27FC236}">
                <a16:creationId xmlns:a16="http://schemas.microsoft.com/office/drawing/2014/main" id="{A2DCCA26-DF60-A3C9-C0E1-AFEAF2B11D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24" y="1191402"/>
            <a:ext cx="2228787" cy="286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F3D7452-E309-C423-2583-AEA194322294}"/>
              </a:ext>
            </a:extLst>
          </p:cNvPr>
          <p:cNvSpPr/>
          <p:nvPr/>
        </p:nvSpPr>
        <p:spPr>
          <a:xfrm>
            <a:off x="785305" y="2244440"/>
            <a:ext cx="5841402" cy="3507054"/>
          </a:xfrm>
          <a:prstGeom prst="roundRect">
            <a:avLst/>
          </a:prstGeom>
          <a:noFill/>
          <a:ln w="28575"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: Diagonal Corners Rounded 17">
            <a:extLst>
              <a:ext uri="{FF2B5EF4-FFF2-40B4-BE49-F238E27FC236}">
                <a16:creationId xmlns:a16="http://schemas.microsoft.com/office/drawing/2014/main" id="{230F304A-B74A-E4FD-8DCA-CAC631ECFE2B}"/>
              </a:ext>
            </a:extLst>
          </p:cNvPr>
          <p:cNvSpPr/>
          <p:nvPr/>
        </p:nvSpPr>
        <p:spPr>
          <a:xfrm>
            <a:off x="7725045" y="2438056"/>
            <a:ext cx="558464" cy="416247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4BD52AD-C16A-284A-56D6-AD5FFC2ADE0A}"/>
              </a:ext>
            </a:extLst>
          </p:cNvPr>
          <p:cNvSpPr txBox="1"/>
          <p:nvPr/>
        </p:nvSpPr>
        <p:spPr>
          <a:xfrm>
            <a:off x="9930581" y="2731192"/>
            <a:ext cx="88134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 = 0.011</a:t>
            </a:r>
          </a:p>
        </p:txBody>
      </p:sp>
    </p:spTree>
    <p:extLst>
      <p:ext uri="{BB962C8B-B14F-4D97-AF65-F5344CB8AC3E}">
        <p14:creationId xmlns:p14="http://schemas.microsoft.com/office/powerpoint/2010/main" val="11787788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11CF3-CE21-CCAC-7BA8-2AC251868C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Slide Number Placeholder 5">
            <a:extLst>
              <a:ext uri="{FF2B5EF4-FFF2-40B4-BE49-F238E27FC236}">
                <a16:creationId xmlns:a16="http://schemas.microsoft.com/office/drawing/2014/main" id="{B1053EF0-3643-6453-CC50-A4E4FAEE5753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DFCFAB6-F164-4D36-9D77-D7204CF49073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E05FB4-83B6-C3BC-B090-6E75D42BDFC2}"/>
              </a:ext>
            </a:extLst>
          </p:cNvPr>
          <p:cNvSpPr txBox="1"/>
          <p:nvPr/>
        </p:nvSpPr>
        <p:spPr>
          <a:xfrm>
            <a:off x="5603874" y="1308650"/>
            <a:ext cx="52578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 panose="020F0502020204030204" pitchFamily="34" charset="0"/>
              </a:rPr>
              <a:t>Phase 2 Vaccine Trial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 panose="020F0502020204030204" pitchFamily="34" charset="0"/>
              </a:rPr>
              <a:t>Scancell’s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 panose="020F0502020204030204" pitchFamily="34" charset="0"/>
              </a:rPr>
              <a:t>ImmunoBody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 panose="020F0502020204030204" pitchFamily="34" charset="0"/>
              </a:rPr>
              <a:t>® Cancer Vaccine (SCIB1) N= 2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F35F68-0A3B-C1DF-5ECE-1EC44473636D}"/>
              </a:ext>
            </a:extLst>
          </p:cNvPr>
          <p:cNvSpPr/>
          <p:nvPr/>
        </p:nvSpPr>
        <p:spPr>
          <a:xfrm>
            <a:off x="7141476" y="5597868"/>
            <a:ext cx="847725" cy="1657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5" name="Picture 14">
            <a:extLst>
              <a:ext uri="{FF2B5EF4-FFF2-40B4-BE49-F238E27FC236}">
                <a16:creationId xmlns:a16="http://schemas.microsoft.com/office/drawing/2014/main" id="{4D36BA41-31E6-C821-DB5A-3FB57BD5F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5815" y="1242706"/>
            <a:ext cx="2228788" cy="21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13F221B-3FFB-E640-0B53-DF19225DE747}"/>
              </a:ext>
            </a:extLst>
          </p:cNvPr>
          <p:cNvSpPr txBox="1"/>
          <p:nvPr/>
        </p:nvSpPr>
        <p:spPr>
          <a:xfrm>
            <a:off x="73925" y="1269573"/>
            <a:ext cx="49627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ignificant increase in antigen-specific T cell responses from baseline following SCIB1 vaccination (p &lt; 0.0001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DD3328-4709-7715-16C0-66279136B8AF}"/>
              </a:ext>
            </a:extLst>
          </p:cNvPr>
          <p:cNvSpPr txBox="1"/>
          <p:nvPr/>
        </p:nvSpPr>
        <p:spPr>
          <a:xfrm>
            <a:off x="323167" y="5653732"/>
            <a:ext cx="4457110" cy="954107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mune activation observe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cross multiple epitopes, demonstrating broad immunogenicity of SCIB1. 16 / 23 (70%) demonstrated a T-cell response that strongly correlated with best overall response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F37C7A-5F5C-DD08-5D40-B6CFB74F7FCF}"/>
              </a:ext>
            </a:extLst>
          </p:cNvPr>
          <p:cNvSpPr txBox="1"/>
          <p:nvPr/>
        </p:nvSpPr>
        <p:spPr>
          <a:xfrm>
            <a:off x="61912" y="122300"/>
            <a:ext cx="1213008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CIB1 Delivered via Stratis IM Demonstrated Strong T Cell Responses that Correlated with and Tumor Reduction in Advanced Melanom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79DD0E-E7FE-E069-C880-B6AC8D0873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688126"/>
            <a:ext cx="11055926" cy="18466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haw, H., et al. (February 2025). </a:t>
            </a:r>
            <a:r>
              <a:rPr kumimoji="0" lang="en-US" sz="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 DNA plasmid melanoma cancer vaccine, SCIB1, combined with nivolumab + ipilimumab in patients with advanced unresectable melanoma: Efficacy and safety results from the open-label Phase 2 SCOPE Trial. [Poster presentation].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merican </a:t>
            </a:r>
            <a:r>
              <a:rPr lang="en-US" altLang="en-US" sz="600" dirty="0">
                <a:latin typeface="Arial" panose="020B0604020202020204" pitchFamily="34" charset="0"/>
                <a:cs typeface="Arial" panose="020B0604020202020204" pitchFamily="34" charset="0"/>
              </a:rPr>
              <a:t>Association for Cancer Research (Immuno-Oncology)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5F2C41B-D3EF-D912-4DB4-1EC274E900FC}"/>
              </a:ext>
            </a:extLst>
          </p:cNvPr>
          <p:cNvSpPr/>
          <p:nvPr/>
        </p:nvSpPr>
        <p:spPr>
          <a:xfrm>
            <a:off x="770310" y="1901007"/>
            <a:ext cx="3566713" cy="35582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9DE86A-AD47-6A28-55C5-7A674F06DF4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131"/>
          <a:stretch/>
        </p:blipFill>
        <p:spPr>
          <a:xfrm>
            <a:off x="956964" y="2075989"/>
            <a:ext cx="3257217" cy="3294547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2CFF609-8F65-4D5F-D7D9-6537F4D974DB}"/>
              </a:ext>
            </a:extLst>
          </p:cNvPr>
          <p:cNvGrpSpPr/>
          <p:nvPr/>
        </p:nvGrpSpPr>
        <p:grpSpPr>
          <a:xfrm>
            <a:off x="5045250" y="1653053"/>
            <a:ext cx="6668861" cy="3904672"/>
            <a:chOff x="914400" y="892844"/>
            <a:chExt cx="11734800" cy="507231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47498CC-2699-83C1-831E-367C1340908F}"/>
                </a:ext>
              </a:extLst>
            </p:cNvPr>
            <p:cNvSpPr/>
            <p:nvPr/>
          </p:nvSpPr>
          <p:spPr>
            <a:xfrm>
              <a:off x="914400" y="1227676"/>
              <a:ext cx="11734800" cy="473748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9F107CD-41BD-902E-4BC4-38F54F0F3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18551" y="892844"/>
              <a:ext cx="11468089" cy="5072312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9CCF073-EFFF-EF23-D947-7E58D79928D5}"/>
              </a:ext>
            </a:extLst>
          </p:cNvPr>
          <p:cNvSpPr txBox="1"/>
          <p:nvPr/>
        </p:nvSpPr>
        <p:spPr>
          <a:xfrm>
            <a:off x="6224037" y="2089624"/>
            <a:ext cx="4407337" cy="523220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10578D">
                    <a:lumMod val="50000"/>
                  </a:srgbClr>
                </a:solidFill>
                <a:latin typeface="Segoe UI"/>
              </a:rPr>
              <a:t>25 Patients at 25 weeks demonstrating 72% Overall Response Rate at 6 month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309C02-B020-74C3-50E9-A05AFD3856AC}"/>
              </a:ext>
            </a:extLst>
          </p:cNvPr>
          <p:cNvSpPr txBox="1"/>
          <p:nvPr/>
        </p:nvSpPr>
        <p:spPr>
          <a:xfrm>
            <a:off x="6255046" y="5653732"/>
            <a:ext cx="4249271" cy="523220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10578D">
                    <a:lumMod val="50000"/>
                  </a:srgbClr>
                </a:solidFill>
                <a:latin typeface="Segoe UI"/>
              </a:rPr>
              <a:t>SCOPE trial continues with a cohort assessing next generation iSCIB1+ via ID delivery with </a:t>
            </a:r>
            <a:r>
              <a:rPr lang="en-US" sz="1400" dirty="0" err="1">
                <a:solidFill>
                  <a:srgbClr val="10578D">
                    <a:lumMod val="50000"/>
                  </a:srgbClr>
                </a:solidFill>
                <a:latin typeface="Segoe UI"/>
              </a:rPr>
              <a:t>Tropis</a:t>
            </a:r>
            <a:endParaRPr lang="en-US" sz="1400" dirty="0">
              <a:solidFill>
                <a:srgbClr val="10578D">
                  <a:lumMod val="50000"/>
                </a:srgbClr>
              </a:solidFill>
              <a:latin typeface="Segoe U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C2AC86-3FC3-D76F-4EBC-4126CD65AD9F}"/>
              </a:ext>
            </a:extLst>
          </p:cNvPr>
          <p:cNvSpPr txBox="1"/>
          <p:nvPr/>
        </p:nvSpPr>
        <p:spPr>
          <a:xfrm rot="16200000">
            <a:off x="-520397" y="3633505"/>
            <a:ext cx="293581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/>
              <a:t>Normalized spot count per million cultured PBMCs</a:t>
            </a:r>
          </a:p>
        </p:txBody>
      </p:sp>
    </p:spTree>
    <p:extLst>
      <p:ext uri="{BB962C8B-B14F-4D97-AF65-F5344CB8AC3E}">
        <p14:creationId xmlns:p14="http://schemas.microsoft.com/office/powerpoint/2010/main" val="3103167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BBA04-E74B-F7D9-3BA2-414361202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488C05-D59E-5584-900F-58BBA1EA86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64471" y="6356350"/>
            <a:ext cx="38940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BB584-4013-41EC-BA6D-063B0823FBE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34">
            <a:extLst>
              <a:ext uri="{FF2B5EF4-FFF2-40B4-BE49-F238E27FC236}">
                <a16:creationId xmlns:a16="http://schemas.microsoft.com/office/drawing/2014/main" id="{3154B57B-EFBB-ECE9-88D3-7F8CAA651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CIB1 Trial Shows Promising Interim Responses; iSCIB1+ Expands with Tropis ID Delivery Cohort</a:t>
            </a:r>
          </a:p>
        </p:txBody>
      </p:sp>
      <p:pic>
        <p:nvPicPr>
          <p:cNvPr id="56" name="Picture 14">
            <a:extLst>
              <a:ext uri="{FF2B5EF4-FFF2-40B4-BE49-F238E27FC236}">
                <a16:creationId xmlns:a16="http://schemas.microsoft.com/office/drawing/2014/main" id="{53306E35-3AED-BE36-01B6-0F6E4C764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34" y="1166922"/>
            <a:ext cx="2228788" cy="21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CE63104-350B-CD12-8DB7-78671B5D44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34" y="6631111"/>
            <a:ext cx="10525125" cy="18941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>
                <a:srgbClr val="34AAD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cancell (2025, </a:t>
            </a:r>
            <a:r>
              <a:rPr lang="en-US" sz="600" dirty="0"/>
              <a:t>January 30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). </a:t>
            </a:r>
            <a:r>
              <a:rPr lang="en-US" sz="600" dirty="0"/>
              <a:t>Interim Results for the six months ended 31 October 2024 [Press release].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FD68C6A-D583-7910-D359-613927FDF4CA}"/>
              </a:ext>
            </a:extLst>
          </p:cNvPr>
          <p:cNvCxnSpPr>
            <a:cxnSpLocks/>
          </p:cNvCxnSpPr>
          <p:nvPr/>
        </p:nvCxnSpPr>
        <p:spPr>
          <a:xfrm>
            <a:off x="3935778" y="1860733"/>
            <a:ext cx="5439481" cy="0"/>
          </a:xfrm>
          <a:prstGeom prst="straightConnector1">
            <a:avLst/>
          </a:prstGeom>
          <a:ln w="19050">
            <a:headEnd type="none" w="med" len="med"/>
            <a:tailEnd type="arrow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796019F-3167-7001-D5E7-7250CB2C3B3B}"/>
              </a:ext>
            </a:extLst>
          </p:cNvPr>
          <p:cNvSpPr txBox="1"/>
          <p:nvPr/>
        </p:nvSpPr>
        <p:spPr>
          <a:xfrm>
            <a:off x="8974435" y="1676067"/>
            <a:ext cx="2446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2 – 2025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9DA5E83-02AE-BF63-D540-B6B36D6C39B7}"/>
              </a:ext>
            </a:extLst>
          </p:cNvPr>
          <p:cNvSpPr txBox="1"/>
          <p:nvPr/>
        </p:nvSpPr>
        <p:spPr>
          <a:xfrm>
            <a:off x="1378141" y="1676067"/>
            <a:ext cx="2464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COPE Trial Program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9DA0729-B00D-81F5-3A29-D143A5D360F5}"/>
              </a:ext>
            </a:extLst>
          </p:cNvPr>
          <p:cNvGrpSpPr/>
          <p:nvPr/>
        </p:nvGrpSpPr>
        <p:grpSpPr>
          <a:xfrm>
            <a:off x="597805" y="2430642"/>
            <a:ext cx="3337973" cy="3090797"/>
            <a:chOff x="505782" y="2742505"/>
            <a:chExt cx="3337973" cy="309079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18C6A59-0630-0578-7D68-DDF065DC240D}"/>
                </a:ext>
              </a:extLst>
            </p:cNvPr>
            <p:cNvGrpSpPr/>
            <p:nvPr/>
          </p:nvGrpSpPr>
          <p:grpSpPr>
            <a:xfrm>
              <a:off x="871251" y="2815154"/>
              <a:ext cx="2596812" cy="2643584"/>
              <a:chOff x="1368772" y="1427916"/>
              <a:chExt cx="2745878" cy="2817079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C36584F-8B9F-D6D1-061E-2049472CBD1B}"/>
                  </a:ext>
                </a:extLst>
              </p:cNvPr>
              <p:cNvSpPr txBox="1"/>
              <p:nvPr/>
            </p:nvSpPr>
            <p:spPr>
              <a:xfrm>
                <a:off x="1368772" y="1981964"/>
                <a:ext cx="2745878" cy="226303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p:spPr>
            <p:txBody>
              <a:bodyPr wrap="square">
                <a:spAutoFit/>
              </a:bodyPr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1827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CIB1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1827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41827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First-generatio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1827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non-personalized Cancer DNA vaccine (ImmunoBody® </a:t>
                </a:r>
                <a:r>
                  <a:rPr lang="en-US" sz="1200" dirty="0">
                    <a:solidFill>
                      <a:srgbClr val="041827">
                        <a:lumMod val="90000"/>
                        <a:lumOff val="10000"/>
                      </a:srgbClr>
                    </a:solidFill>
                    <a:latin typeface="Segoe UI"/>
                  </a:rPr>
                  <a:t>platform); IM delivery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b="0" i="0" dirty="0">
                  <a:effectLst/>
                </a:endParaRPr>
              </a:p>
              <a:p>
                <a:pPr marL="461963" indent="-461963" algn="ctr">
                  <a:defRPr/>
                </a:pPr>
                <a:r>
                  <a:rPr lang="en-US" sz="1200" b="1" dirty="0">
                    <a:solidFill>
                      <a:schemeClr val="accent2">
                        <a:lumMod val="90000"/>
                        <a:lumOff val="10000"/>
                      </a:schemeClr>
                    </a:solidFill>
                  </a:rPr>
                  <a:t>iSCIB1+</a:t>
                </a:r>
                <a:r>
                  <a:rPr lang="en-US" sz="1200" b="1" dirty="0"/>
                  <a:t> </a:t>
                </a:r>
              </a:p>
              <a:p>
                <a:pPr>
                  <a:defRPr/>
                </a:pPr>
                <a:r>
                  <a:rPr lang="en-US" sz="1200" b="1" i="1" kern="1200" dirty="0">
                    <a:solidFill>
                      <a:schemeClr val="accent2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rPr>
                  <a:t>N</a:t>
                </a:r>
                <a:r>
                  <a:rPr lang="en-US" sz="1200" b="1" i="1" dirty="0">
                    <a:solidFill>
                      <a:schemeClr val="accent2">
                        <a:lumMod val="90000"/>
                        <a:lumOff val="10000"/>
                      </a:schemeClr>
                    </a:solidFill>
                  </a:rPr>
                  <a:t>ext-generation</a:t>
                </a:r>
                <a:r>
                  <a:rPr lang="en-US" sz="1200" b="0" dirty="0">
                    <a:solidFill>
                      <a:schemeClr val="accent2">
                        <a:lumMod val="90000"/>
                        <a:lumOff val="10000"/>
                      </a:schemeClr>
                    </a:solidFill>
                  </a:rPr>
                  <a:t> modified version of SCIB1 (</a:t>
                </a:r>
                <a:r>
                  <a:rPr lang="en-US" sz="1200" b="0" dirty="0" err="1">
                    <a:solidFill>
                      <a:schemeClr val="accent2">
                        <a:lumMod val="90000"/>
                        <a:lumOff val="10000"/>
                      </a:schemeClr>
                    </a:solidFill>
                  </a:rPr>
                  <a:t>AvidiMab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1827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®</a:t>
                </a:r>
                <a:r>
                  <a:rPr lang="en-US" sz="1200" b="0" dirty="0">
                    <a:solidFill>
                      <a:schemeClr val="accent2">
                        <a:lumMod val="90000"/>
                        <a:lumOff val="10000"/>
                      </a:schemeClr>
                    </a:solidFill>
                  </a:rPr>
                  <a:t> platform);</a:t>
                </a:r>
                <a:r>
                  <a:rPr lang="en-US" sz="1200" b="0" kern="1200" dirty="0">
                    <a:solidFill>
                      <a:schemeClr val="accent2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rPr>
                  <a:t> enhanced formulation; broader patient population use</a:t>
                </a:r>
                <a:r>
                  <a:rPr lang="en-US" sz="1200" dirty="0">
                    <a:solidFill>
                      <a:srgbClr val="041827">
                        <a:lumMod val="90000"/>
                        <a:lumOff val="10000"/>
                      </a:srgbClr>
                    </a:solidFill>
                    <a:latin typeface="Segoe UI"/>
                  </a:rPr>
                  <a:t>.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41827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E2722EB-8ACB-EB53-9613-0AA4B819BB89}"/>
                  </a:ext>
                </a:extLst>
              </p:cNvPr>
              <p:cNvSpPr txBox="1"/>
              <p:nvPr/>
            </p:nvSpPr>
            <p:spPr>
              <a:xfrm>
                <a:off x="1670691" y="1427916"/>
                <a:ext cx="2388218" cy="3935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10578D">
                        <a:lumMod val="75000"/>
                      </a:srgbClr>
                    </a:solidFill>
                    <a:latin typeface="Segoe UI" panose="020B0502040204020203" pitchFamily="34" charset="0"/>
                  </a:rPr>
                  <a:t>Vaccine Background</a:t>
                </a:r>
              </a:p>
            </p:txBody>
          </p:sp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CEEE7963-7312-84F1-E97F-B7456E3B8B93}"/>
                </a:ext>
              </a:extLst>
            </p:cNvPr>
            <p:cNvSpPr/>
            <p:nvPr/>
          </p:nvSpPr>
          <p:spPr>
            <a:xfrm>
              <a:off x="505782" y="2742505"/>
              <a:ext cx="3337973" cy="3090797"/>
            </a:xfrm>
            <a:prstGeom prst="roundRect">
              <a:avLst/>
            </a:prstGeom>
            <a:noFill/>
            <a:ln w="38100"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BD294951-A6A9-46CB-993C-03930D9C152F}"/>
              </a:ext>
            </a:extLst>
          </p:cNvPr>
          <p:cNvSpPr txBox="1"/>
          <p:nvPr/>
        </p:nvSpPr>
        <p:spPr>
          <a:xfrm>
            <a:off x="5021751" y="2503291"/>
            <a:ext cx="60376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10578D">
                    <a:lumMod val="75000"/>
                  </a:srgbClr>
                </a:solidFill>
                <a:latin typeface="Segoe UI" panose="020B0502040204020203" pitchFamily="34" charset="0"/>
              </a:rPr>
              <a:t>Clinical data → Next-gen study design → Tropis expansion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9DCC0C5-B8EB-9D53-AEDA-B869BB2675D2}"/>
              </a:ext>
            </a:extLst>
          </p:cNvPr>
          <p:cNvGrpSpPr/>
          <p:nvPr/>
        </p:nvGrpSpPr>
        <p:grpSpPr>
          <a:xfrm>
            <a:off x="4190875" y="2478667"/>
            <a:ext cx="7704669" cy="3100130"/>
            <a:chOff x="4133162" y="2029694"/>
            <a:chExt cx="7704669" cy="3100130"/>
          </a:xfrm>
        </p:grpSpPr>
        <p:sp>
          <p:nvSpPr>
            <p:cNvPr id="27" name="Flowchart: Alternate Process 26">
              <a:extLst>
                <a:ext uri="{FF2B5EF4-FFF2-40B4-BE49-F238E27FC236}">
                  <a16:creationId xmlns:a16="http://schemas.microsoft.com/office/drawing/2014/main" id="{0CDF53F9-28D7-EBFF-925C-DCED95D4A49E}"/>
                </a:ext>
              </a:extLst>
            </p:cNvPr>
            <p:cNvSpPr/>
            <p:nvPr/>
          </p:nvSpPr>
          <p:spPr>
            <a:xfrm>
              <a:off x="9697852" y="2957455"/>
              <a:ext cx="1002082" cy="391792"/>
            </a:xfrm>
            <a:prstGeom prst="flowChartAlternateProcess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accent2">
                      <a:lumMod val="75000"/>
                      <a:lumOff val="25000"/>
                    </a:schemeClr>
                  </a:solidFill>
                </a:rPr>
                <a:t>Tropis (ID) Cohort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8BB1DF9-13FE-7261-E645-71A03A0395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22899" y="2537712"/>
              <a:ext cx="3272306" cy="229501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39771F2-4F6A-E184-D449-E8E87C5F2E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46110" y="3120949"/>
              <a:ext cx="1021581" cy="1109373"/>
            </a:xfrm>
            <a:prstGeom prst="rect">
              <a:avLst/>
            </a:prstGeom>
          </p:spPr>
        </p:pic>
        <p:sp>
          <p:nvSpPr>
            <p:cNvPr id="24" name="Flowchart: Alternate Process 23">
              <a:extLst>
                <a:ext uri="{FF2B5EF4-FFF2-40B4-BE49-F238E27FC236}">
                  <a16:creationId xmlns:a16="http://schemas.microsoft.com/office/drawing/2014/main" id="{AD8DB4EE-409D-4D7D-4820-51108137F6EF}"/>
                </a:ext>
              </a:extLst>
            </p:cNvPr>
            <p:cNvSpPr/>
            <p:nvPr/>
          </p:nvSpPr>
          <p:spPr>
            <a:xfrm>
              <a:off x="8516323" y="2954285"/>
              <a:ext cx="842123" cy="391792"/>
            </a:xfrm>
            <a:prstGeom prst="flowChartAlternateProcess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accent2">
                      <a:lumMod val="75000"/>
                      <a:lumOff val="25000"/>
                    </a:schemeClr>
                  </a:solidFill>
                </a:rPr>
                <a:t>iSCIB1+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DB9F60C-6009-F501-5799-23C2A7F14623}"/>
                </a:ext>
              </a:extLst>
            </p:cNvPr>
            <p:cNvSpPr/>
            <p:nvPr/>
          </p:nvSpPr>
          <p:spPr>
            <a:xfrm>
              <a:off x="4133162" y="2029694"/>
              <a:ext cx="7591839" cy="3100130"/>
            </a:xfrm>
            <a:prstGeom prst="roundRect">
              <a:avLst/>
            </a:prstGeom>
            <a:noFill/>
            <a:ln w="38100"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4D5D0DD-25E2-6A5A-1CF6-67824161C374}"/>
                </a:ext>
              </a:extLst>
            </p:cNvPr>
            <p:cNvSpPr txBox="1"/>
            <p:nvPr/>
          </p:nvSpPr>
          <p:spPr>
            <a:xfrm>
              <a:off x="10749695" y="3021812"/>
              <a:ext cx="1088136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accent2">
                      <a:lumMod val="75000"/>
                      <a:lumOff val="25000"/>
                    </a:schemeClr>
                  </a:solidFill>
                </a:rPr>
                <a:t>(N=43)</a:t>
              </a:r>
            </a:p>
            <a:p>
              <a:endParaRPr lang="en-US" dirty="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460500F-9D03-F2C8-0057-4165B1779B6E}"/>
                </a:ext>
              </a:extLst>
            </p:cNvPr>
            <p:cNvSpPr txBox="1"/>
            <p:nvPr/>
          </p:nvSpPr>
          <p:spPr>
            <a:xfrm>
              <a:off x="8413898" y="3411989"/>
              <a:ext cx="2694533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accent2">
                      <a:lumMod val="75000"/>
                      <a:lumOff val="25000"/>
                    </a:schemeClr>
                  </a:solidFill>
                </a:rPr>
                <a:t>Next-generation vaccine with ID delivery cohort  </a:t>
              </a:r>
            </a:p>
            <a:p>
              <a:endParaRPr lang="en-US" sz="1400" dirty="0">
                <a:solidFill>
                  <a:schemeClr val="accent2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accent2">
                      <a:lumMod val="75000"/>
                      <a:lumOff val="25000"/>
                    </a:schemeClr>
                  </a:solidFill>
                </a:rPr>
                <a:t>25-week ORR data expected mid-to-late 2025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accent2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2C44C57-75BF-EB02-184B-331AEF172FF2}"/>
              </a:ext>
            </a:extLst>
          </p:cNvPr>
          <p:cNvSpPr txBox="1"/>
          <p:nvPr/>
        </p:nvSpPr>
        <p:spPr>
          <a:xfrm>
            <a:off x="4269179" y="5679225"/>
            <a:ext cx="7325016" cy="3077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10578D">
                    <a:lumMod val="75000"/>
                  </a:srgbClr>
                </a:solidFill>
                <a:latin typeface="Segoe UI" panose="020B0502040204020203" pitchFamily="34" charset="0"/>
              </a:rPr>
              <a:t>PharmaJet enabled IM delivery in SCIB1 and now supports ID delivery via Tropis in iSCIB1+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94DC0D-8EF3-F508-037B-3E08C2DFD0FB}"/>
              </a:ext>
            </a:extLst>
          </p:cNvPr>
          <p:cNvSpPr txBox="1"/>
          <p:nvPr/>
        </p:nvSpPr>
        <p:spPr>
          <a:xfrm>
            <a:off x="9366455" y="3392262"/>
            <a:ext cx="3040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10578D">
                    <a:lumMod val="75000"/>
                  </a:srgbClr>
                </a:solidFill>
                <a:latin typeface="Segoe UI" panose="020B0502040204020203" pitchFamily="34" charset="0"/>
              </a:rPr>
              <a:t>→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81396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4CB952-5B49-947B-273E-54AE7E832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31" y="25553"/>
            <a:ext cx="11439888" cy="1098570"/>
          </a:xfrm>
        </p:spPr>
        <p:txBody>
          <a:bodyPr>
            <a:normAutofit/>
          </a:bodyPr>
          <a:lstStyle/>
          <a:p>
            <a:r>
              <a:rPr lang="en-US" sz="2800" b="1" dirty="0"/>
              <a:t>Conclusions: Partners Are Harnessing Needle-Free Delivery to Advance Cancer Vaccine Pipelin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271E66-E0D4-8BF2-C2EF-9513A4DA61F7}"/>
              </a:ext>
            </a:extLst>
          </p:cNvPr>
          <p:cNvSpPr txBox="1"/>
          <p:nvPr/>
        </p:nvSpPr>
        <p:spPr>
          <a:xfrm>
            <a:off x="581900" y="1124123"/>
            <a:ext cx="1119703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Needle-Free Delivery Induces Immune Responses Across Studies</a:t>
            </a:r>
          </a:p>
          <a:p>
            <a:pPr marL="400050" marR="0" lvl="0" indent="-2873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D4⁺ and CD8⁺ T cel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responses observed in both preclinical and clinical trials</a:t>
            </a:r>
          </a:p>
          <a:p>
            <a:pPr marL="400050" marR="0" lvl="0" indent="-2873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ID delivery using Tropi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(preclinical) resulted in stronger immune responses and improved survival compared to needle injection</a:t>
            </a:r>
          </a:p>
          <a:p>
            <a:pPr marL="400050" marR="0" lvl="0" indent="-2873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Ongoing cancer vaccine trials </a:t>
            </a: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</a:rPr>
              <a:t>demonstrated broad immune activation and tumor reduction usin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needle-free deliver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linical Benefit Demonstrated in Cancer Vaccine Trials</a:t>
            </a:r>
          </a:p>
          <a:p>
            <a:pPr marL="400050" marR="0" lvl="0" indent="-2873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PV DNA vaccin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Demonstrated lesion size reduction, disease control, and increased survival probability in both monotherapy and in combination with checkpoint inhibitors</a:t>
            </a:r>
          </a:p>
          <a:p>
            <a:pPr marL="400050" marR="0" lvl="0" indent="-2873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CIB1 melanoma vaccin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Higher objective response rates observed when combined with checkpoint inhibitors and delivered via needle-free injec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7E23E7-8C0B-F8B2-1918-5521043138FD}"/>
              </a:ext>
            </a:extLst>
          </p:cNvPr>
          <p:cNvSpPr txBox="1"/>
          <p:nvPr/>
        </p:nvSpPr>
        <p:spPr>
          <a:xfrm>
            <a:off x="1058780" y="4608550"/>
            <a:ext cx="10106525" cy="177279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577850" indent="-228600">
              <a:lnSpc>
                <a:spcPct val="110000"/>
              </a:lnSpc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577850" indent="-228600">
              <a:lnSpc>
                <a:spcPct val="110000"/>
              </a:lnSpc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ID delivery with Tropis </a:t>
            </a: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</a:rPr>
              <a:t>In partnership wit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cancell, an intradermal cohort</a:t>
            </a:r>
            <a:r>
              <a:rPr lang="en-US" dirty="0">
                <a:solidFill>
                  <a:prstClr val="black"/>
                </a:solidFill>
                <a:latin typeface="Segoe UI"/>
              </a:rPr>
              <a:t> with iSCIB1+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</a:p>
          <a:p>
            <a:pPr marL="577850" indent="-228600">
              <a:lnSpc>
                <a:spcPct val="110000"/>
              </a:lnSpc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as been added to the SCOPE trial</a:t>
            </a:r>
          </a:p>
          <a:p>
            <a:pPr marL="577850" marR="0" lvl="0" indent="-22860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ropis: The Only Commercially Scaled ID Needle-Free Platfor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57785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12+ million vaccinations administered</a:t>
            </a:r>
          </a:p>
          <a:p>
            <a:pPr marL="57785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E marked and WHO prequalified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E645756F-0FBE-381B-7129-1E9958C0C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1564" y="5187542"/>
            <a:ext cx="1839999" cy="109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2D62C4D-E3E3-C6EA-B7AB-6BBFF5F336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64471" y="6356350"/>
            <a:ext cx="38940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BB584-4013-41EC-BA6D-063B0823FBE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573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034B28-D8B6-B057-0114-B8BCC0720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090" name="Picture 19">
            <a:extLst>
              <a:ext uri="{FF2B5EF4-FFF2-40B4-BE49-F238E27FC236}">
                <a16:creationId xmlns:a16="http://schemas.microsoft.com/office/drawing/2014/main" id="{0A3EAF92-0CD7-90E1-F721-51D49D190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0549" y="1962332"/>
            <a:ext cx="5184805" cy="2755612"/>
          </a:xfrm>
          <a:prstGeom prst="rect">
            <a:avLst/>
          </a:prstGeom>
          <a:solidFill>
            <a:srgbClr val="FFFF00"/>
          </a:solidFill>
          <a:ln>
            <a:noFill/>
          </a:ln>
        </p:spPr>
      </p:pic>
      <p:pic>
        <p:nvPicPr>
          <p:cNvPr id="217091" name="Picture 15">
            <a:extLst>
              <a:ext uri="{FF2B5EF4-FFF2-40B4-BE49-F238E27FC236}">
                <a16:creationId xmlns:a16="http://schemas.microsoft.com/office/drawing/2014/main" id="{B18F75C0-B092-7582-51D9-E76773CD75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" t="3868" r="35911"/>
          <a:stretch/>
        </p:blipFill>
        <p:spPr bwMode="auto">
          <a:xfrm>
            <a:off x="581914" y="1840597"/>
            <a:ext cx="3298970" cy="2847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2AAC193-F7DC-8BB0-C331-B52D011F2BAB}"/>
              </a:ext>
            </a:extLst>
          </p:cNvPr>
          <p:cNvSpPr/>
          <p:nvPr/>
        </p:nvSpPr>
        <p:spPr>
          <a:xfrm>
            <a:off x="5726627" y="1114900"/>
            <a:ext cx="522287" cy="450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9731C31-2966-D75E-41D4-4E43FB5A0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643" y="174608"/>
            <a:ext cx="11796713" cy="91536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br>
              <a:rPr lang="en-US" sz="2000" dirty="0">
                <a:latin typeface="+mn-lt"/>
              </a:rPr>
            </a:br>
            <a:r>
              <a:rPr lang="en-US" sz="3100" b="1" dirty="0">
                <a:latin typeface="Poppins" panose="00000500000000000000" pitchFamily="2" charset="0"/>
                <a:cs typeface="Poppins" panose="00000500000000000000" pitchFamily="2" charset="0"/>
              </a:rPr>
              <a:t>Intradermal (ID) Delivery of a Therapeutic HPV Vaccine Using Tropis</a:t>
            </a:r>
            <a:r>
              <a:rPr lang="en-US" altLang="en-US" sz="3100" b="1" baseline="300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®</a:t>
            </a:r>
            <a:r>
              <a:rPr lang="en-US" sz="3100" b="1" baseline="300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3100" b="1" dirty="0">
                <a:latin typeface="Poppins" panose="00000500000000000000" pitchFamily="2" charset="0"/>
                <a:cs typeface="Poppins" panose="00000500000000000000" pitchFamily="2" charset="0"/>
              </a:rPr>
              <a:t>Slows Tumor Growth and Improves Survival</a:t>
            </a:r>
            <a:br>
              <a:rPr lang="en-US" sz="2000" dirty="0">
                <a:latin typeface="+mn-lt"/>
              </a:rPr>
            </a:br>
            <a:br>
              <a:rPr lang="en-US" sz="2000" dirty="0"/>
            </a:br>
            <a:endParaRPr lang="en-US" sz="2000" dirty="0">
              <a:solidFill>
                <a:schemeClr val="tx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17103" name="Slide Number Placeholder 3">
            <a:extLst>
              <a:ext uri="{FF2B5EF4-FFF2-40B4-BE49-F238E27FC236}">
                <a16:creationId xmlns:a16="http://schemas.microsoft.com/office/drawing/2014/main" id="{8A47F719-668A-94C5-AF2E-EDD2B79B633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D06B03-D625-485D-80DB-5E38D2FEAAF0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098B39-3142-A30D-199D-EBEF816943F5}"/>
              </a:ext>
            </a:extLst>
          </p:cNvPr>
          <p:cNvSpPr/>
          <p:nvPr/>
        </p:nvSpPr>
        <p:spPr>
          <a:xfrm>
            <a:off x="402186" y="1791405"/>
            <a:ext cx="522288" cy="450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14CC3A-517A-D30B-874C-8EDB352CD0E6}"/>
              </a:ext>
            </a:extLst>
          </p:cNvPr>
          <p:cNvSpPr/>
          <p:nvPr/>
        </p:nvSpPr>
        <p:spPr>
          <a:xfrm>
            <a:off x="6495181" y="1442147"/>
            <a:ext cx="522288" cy="450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623A1C-05BE-D67C-8F87-0BB854FB2AFF}"/>
              </a:ext>
            </a:extLst>
          </p:cNvPr>
          <p:cNvSpPr/>
          <p:nvPr/>
        </p:nvSpPr>
        <p:spPr>
          <a:xfrm>
            <a:off x="525592" y="2215037"/>
            <a:ext cx="303745" cy="379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28B4186-57A6-CDBD-6116-F0F15D2B107B}"/>
              </a:ext>
            </a:extLst>
          </p:cNvPr>
          <p:cNvSpPr/>
          <p:nvPr/>
        </p:nvSpPr>
        <p:spPr>
          <a:xfrm>
            <a:off x="677992" y="2367437"/>
            <a:ext cx="303745" cy="379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35433F-2F91-E2C8-46C8-E5AB5D267124}"/>
              </a:ext>
            </a:extLst>
          </p:cNvPr>
          <p:cNvSpPr/>
          <p:nvPr/>
        </p:nvSpPr>
        <p:spPr>
          <a:xfrm>
            <a:off x="6388270" y="2062637"/>
            <a:ext cx="303745" cy="450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8912FE8-8AD6-57F8-B84C-6D47FF47CB60}"/>
              </a:ext>
            </a:extLst>
          </p:cNvPr>
          <p:cNvSpPr/>
          <p:nvPr/>
        </p:nvSpPr>
        <p:spPr>
          <a:xfrm>
            <a:off x="4372213" y="3668226"/>
            <a:ext cx="522288" cy="26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7A8BEED-1A38-495D-034B-6B75FCE0B909}"/>
              </a:ext>
            </a:extLst>
          </p:cNvPr>
          <p:cNvSpPr txBox="1"/>
          <p:nvPr/>
        </p:nvSpPr>
        <p:spPr>
          <a:xfrm>
            <a:off x="1357584" y="5580616"/>
            <a:ext cx="3817580" cy="738664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ID needle-free vaccinatio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ignificantly slowe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umor growth compared to untreated and I.M.-needle groups.</a:t>
            </a:r>
          </a:p>
        </p:txBody>
      </p:sp>
      <p:sp>
        <p:nvSpPr>
          <p:cNvPr id="217088" name="TextBox 217087">
            <a:extLst>
              <a:ext uri="{FF2B5EF4-FFF2-40B4-BE49-F238E27FC236}">
                <a16:creationId xmlns:a16="http://schemas.microsoft.com/office/drawing/2014/main" id="{A007DA12-4808-FEF5-379B-C2DBEBAE390E}"/>
              </a:ext>
            </a:extLst>
          </p:cNvPr>
          <p:cNvSpPr txBox="1"/>
          <p:nvPr/>
        </p:nvSpPr>
        <p:spPr>
          <a:xfrm>
            <a:off x="7227366" y="5580616"/>
            <a:ext cx="3354909" cy="738664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ID needle-free vaccinatio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ignificantly improved surviva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578D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mpared to all other group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7C6393-D1B2-A1D7-5345-2AD9BC746ACD}"/>
              </a:ext>
            </a:extLst>
          </p:cNvPr>
          <p:cNvSpPr txBox="1"/>
          <p:nvPr/>
        </p:nvSpPr>
        <p:spPr>
          <a:xfrm>
            <a:off x="0" y="6625171"/>
            <a:ext cx="10164619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g,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t al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2023)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mune responses, therapeutic anti-tumor effects, and tolerability upon therapeutic HPV16/18 E6/E7 DNA vaccination via needle-free </a:t>
            </a:r>
            <a:r>
              <a:rPr kumimoji="0" lang="en-US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ojector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 PMID: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37791765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41827">
                  <a:lumMod val="90000"/>
                  <a:lumOff val="1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88BA54-BF21-A052-3069-74D9C585E2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7941" y="5063966"/>
            <a:ext cx="6916115" cy="22863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78BF4A5-5E0F-9B92-5DB9-BF5A6677C8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6836" y="2286937"/>
            <a:ext cx="1695687" cy="73352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D6DAEA3-7079-038F-9D14-4008091F609B}"/>
              </a:ext>
            </a:extLst>
          </p:cNvPr>
          <p:cNvSpPr txBox="1"/>
          <p:nvPr/>
        </p:nvSpPr>
        <p:spPr>
          <a:xfrm>
            <a:off x="10403757" y="3211238"/>
            <a:ext cx="1358090" cy="646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50% probability of survival vs 0% in other group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467908-710C-0126-D3A6-D600F8B248E8}"/>
              </a:ext>
            </a:extLst>
          </p:cNvPr>
          <p:cNvSpPr txBox="1"/>
          <p:nvPr/>
        </p:nvSpPr>
        <p:spPr>
          <a:xfrm>
            <a:off x="829337" y="1364917"/>
            <a:ext cx="106538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clinical study in mice challenged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ith TC-1 tumor cells and treated with the HPV DNA vaccine pBI-1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904038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B94105-1829-787A-6616-747F3469C3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2182C78-CEC9-E9CC-415A-605BF5A6CC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-51619"/>
            <a:ext cx="7256206" cy="69612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893B196-289C-CE74-5657-AE67D63A2ABA}"/>
              </a:ext>
            </a:extLst>
          </p:cNvPr>
          <p:cNvSpPr/>
          <p:nvPr/>
        </p:nvSpPr>
        <p:spPr>
          <a:xfrm>
            <a:off x="362096" y="3044580"/>
            <a:ext cx="2008633" cy="2008633"/>
          </a:xfrm>
          <a:prstGeom prst="ellipse">
            <a:avLst/>
          </a:prstGeom>
          <a:solidFill>
            <a:schemeClr val="bg2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67DBF4-A655-3A27-7A8E-F5662AD1F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75577"/>
            <a:ext cx="7256206" cy="880911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 PharmaJet at a Glance</a:t>
            </a:r>
          </a:p>
        </p:txBody>
      </p:sp>
      <p:sp>
        <p:nvSpPr>
          <p:cNvPr id="1033" name="Slide Number Placeholder 1032">
            <a:extLst>
              <a:ext uri="{FF2B5EF4-FFF2-40B4-BE49-F238E27FC236}">
                <a16:creationId xmlns:a16="http://schemas.microsoft.com/office/drawing/2014/main" id="{5A6E03C4-200B-A4D8-8B20-6C6E89F1B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565392"/>
            <a:ext cx="381000" cy="21636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F643EC-EB04-4D14-B81E-B0C9C0A14ED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F342BF-B13A-D275-64B5-9E94478C482E}"/>
              </a:ext>
            </a:extLst>
          </p:cNvPr>
          <p:cNvSpPr txBox="1"/>
          <p:nvPr/>
        </p:nvSpPr>
        <p:spPr>
          <a:xfrm>
            <a:off x="7726678" y="381000"/>
            <a:ext cx="4190360" cy="209288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ISI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 lead a transformation on how medicines harness the full power of the immune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ISSI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 improve performance and outcomes of medicines with breakthrough delivery technology that navigates the immune system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CA1FD7B-6D28-8EF8-8E3F-D29C1C93A5C4}"/>
              </a:ext>
            </a:extLst>
          </p:cNvPr>
          <p:cNvSpPr/>
          <p:nvPr/>
        </p:nvSpPr>
        <p:spPr>
          <a:xfrm>
            <a:off x="641568" y="1104867"/>
            <a:ext cx="822960" cy="82296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3D42B0A-9997-3838-4D98-8032721E1C5E}"/>
              </a:ext>
            </a:extLst>
          </p:cNvPr>
          <p:cNvSpPr/>
          <p:nvPr/>
        </p:nvSpPr>
        <p:spPr>
          <a:xfrm>
            <a:off x="2324267" y="1878159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DC7009-3265-32BC-2246-71B3178E31B7}"/>
              </a:ext>
            </a:extLst>
          </p:cNvPr>
          <p:cNvSpPr/>
          <p:nvPr/>
        </p:nvSpPr>
        <p:spPr>
          <a:xfrm>
            <a:off x="4382809" y="2816273"/>
            <a:ext cx="786384" cy="786384"/>
          </a:xfrm>
          <a:prstGeom prst="ellipse">
            <a:avLst/>
          </a:prstGeom>
          <a:solidFill>
            <a:srgbClr val="5D93B6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D8AC3A3-DD92-7D4E-4E50-17AB793434C9}"/>
              </a:ext>
            </a:extLst>
          </p:cNvPr>
          <p:cNvSpPr/>
          <p:nvPr/>
        </p:nvSpPr>
        <p:spPr>
          <a:xfrm>
            <a:off x="3034608" y="3928137"/>
            <a:ext cx="914400" cy="914400"/>
          </a:xfrm>
          <a:prstGeom prst="ellipse">
            <a:avLst/>
          </a:prstGeom>
          <a:solidFill>
            <a:srgbClr val="5188A8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8D51AC-2B4C-1A65-0253-06946D54B7C9}"/>
              </a:ext>
            </a:extLst>
          </p:cNvPr>
          <p:cNvSpPr/>
          <p:nvPr/>
        </p:nvSpPr>
        <p:spPr>
          <a:xfrm>
            <a:off x="564803" y="5291239"/>
            <a:ext cx="1034832" cy="1034832"/>
          </a:xfrm>
          <a:prstGeom prst="ellipse">
            <a:avLst/>
          </a:prstGeom>
          <a:solidFill>
            <a:schemeClr val="tx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48284C-FEE3-1592-AC89-F82F877E79C5}"/>
              </a:ext>
            </a:extLst>
          </p:cNvPr>
          <p:cNvSpPr txBox="1"/>
          <p:nvPr/>
        </p:nvSpPr>
        <p:spPr>
          <a:xfrm>
            <a:off x="4119789" y="4166068"/>
            <a:ext cx="2937777" cy="6001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And only needle-free delivery system to achiev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World Health Organization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standards for Pre-qualifi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E24B5A-7D61-7CFC-DDC3-DAA922EDB17B}"/>
              </a:ext>
            </a:extLst>
          </p:cNvPr>
          <p:cNvSpPr txBox="1"/>
          <p:nvPr/>
        </p:nvSpPr>
        <p:spPr>
          <a:xfrm>
            <a:off x="3160560" y="4093943"/>
            <a:ext cx="914400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1</a:t>
            </a:r>
            <a:r>
              <a:rPr kumimoji="0" lang="en-US" sz="40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t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33B1FB-D6AF-3C21-54FB-F8AFF1AD9858}"/>
              </a:ext>
            </a:extLst>
          </p:cNvPr>
          <p:cNvSpPr txBox="1"/>
          <p:nvPr/>
        </p:nvSpPr>
        <p:spPr>
          <a:xfrm>
            <a:off x="1574559" y="1352192"/>
            <a:ext cx="4907384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Private company headquartered in Golden, Colorado, US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0E49B4-A1BE-9233-9689-E975FC57AF0D}"/>
              </a:ext>
            </a:extLst>
          </p:cNvPr>
          <p:cNvSpPr txBox="1"/>
          <p:nvPr/>
        </p:nvSpPr>
        <p:spPr>
          <a:xfrm>
            <a:off x="5074446" y="5540773"/>
            <a:ext cx="1876104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Active clinical-stage partnerships in infectious disease and oncology indicatio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83ACC95-6EDA-EDB1-9201-3A2851D3835D}"/>
              </a:ext>
            </a:extLst>
          </p:cNvPr>
          <p:cNvGrpSpPr/>
          <p:nvPr/>
        </p:nvGrpSpPr>
        <p:grpSpPr>
          <a:xfrm>
            <a:off x="4163308" y="5592316"/>
            <a:ext cx="808885" cy="785672"/>
            <a:chOff x="4247399" y="5293273"/>
            <a:chExt cx="808885" cy="78567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3737C83-88F0-81B9-341F-B00AFF1D292C}"/>
                </a:ext>
              </a:extLst>
            </p:cNvPr>
            <p:cNvSpPr/>
            <p:nvPr/>
          </p:nvSpPr>
          <p:spPr>
            <a:xfrm>
              <a:off x="4247399" y="5293273"/>
              <a:ext cx="785672" cy="785672"/>
            </a:xfrm>
            <a:prstGeom prst="ellipse">
              <a:avLst/>
            </a:prstGeom>
            <a:solidFill>
              <a:srgbClr val="28627A"/>
            </a:solidFill>
            <a:ln w="6350">
              <a:solidFill>
                <a:srgbClr val="28627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F406F0F-F4C2-6020-5F65-BA9258E4520D}"/>
                </a:ext>
              </a:extLst>
            </p:cNvPr>
            <p:cNvSpPr txBox="1"/>
            <p:nvPr/>
          </p:nvSpPr>
          <p:spPr>
            <a:xfrm>
              <a:off x="4257211" y="5409776"/>
              <a:ext cx="799073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/>
                  <a:ea typeface="+mn-ea"/>
                  <a:cs typeface="Poppins"/>
                </a:rPr>
                <a:t>13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089CA1E6-19C4-5A31-8FF2-51D3517B1582}"/>
              </a:ext>
            </a:extLst>
          </p:cNvPr>
          <p:cNvSpPr txBox="1"/>
          <p:nvPr/>
        </p:nvSpPr>
        <p:spPr>
          <a:xfrm>
            <a:off x="4543548" y="2894665"/>
            <a:ext cx="725420" cy="646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0A3A7C0-280D-FF97-921A-CCEE80E6C634}"/>
              </a:ext>
            </a:extLst>
          </p:cNvPr>
          <p:cNvSpPr txBox="1"/>
          <p:nvPr/>
        </p:nvSpPr>
        <p:spPr>
          <a:xfrm>
            <a:off x="553845" y="5570362"/>
            <a:ext cx="111385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12M+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BB7F0A-A450-5CA9-2262-192528C4B010}"/>
              </a:ext>
            </a:extLst>
          </p:cNvPr>
          <p:cNvSpPr txBox="1"/>
          <p:nvPr/>
        </p:nvSpPr>
        <p:spPr>
          <a:xfrm>
            <a:off x="5263064" y="2907863"/>
            <a:ext cx="1779788" cy="6001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Products approved for use with PharmaJet technolog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7" name="Graphic 26" descr="Marker with solid fill">
            <a:extLst>
              <a:ext uri="{FF2B5EF4-FFF2-40B4-BE49-F238E27FC236}">
                <a16:creationId xmlns:a16="http://schemas.microsoft.com/office/drawing/2014/main" id="{B9E785D1-3DE9-8527-731A-B829FD268A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861" y="1210862"/>
            <a:ext cx="586737" cy="58673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96AA275-ED57-D826-FD6B-984B58FCFF38}"/>
              </a:ext>
            </a:extLst>
          </p:cNvPr>
          <p:cNvSpPr txBox="1"/>
          <p:nvPr/>
        </p:nvSpPr>
        <p:spPr>
          <a:xfrm>
            <a:off x="1677516" y="5834521"/>
            <a:ext cx="1762277" cy="6001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 Light"/>
              </a:rPr>
              <a:t>Vaccinations delivered for polio in pediatric population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906C460-3B83-EA98-B96A-E59C551C8CEB}"/>
              </a:ext>
            </a:extLst>
          </p:cNvPr>
          <p:cNvSpPr txBox="1"/>
          <p:nvPr/>
        </p:nvSpPr>
        <p:spPr>
          <a:xfrm>
            <a:off x="3386567" y="2065798"/>
            <a:ext cx="3809761" cy="6001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/>
              <a:t>Team of professionals with global experience across the spectrum of drug-device development, commercialization, and medical affairs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ontserrat"/>
              <a:ea typeface="+mn-ea"/>
              <a:cs typeface="Segoe UI Light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AC892AF-BA8D-4160-4536-D3776DC71368}"/>
              </a:ext>
            </a:extLst>
          </p:cNvPr>
          <p:cNvCxnSpPr>
            <a:cxnSpLocks/>
          </p:cNvCxnSpPr>
          <p:nvPr/>
        </p:nvCxnSpPr>
        <p:spPr>
          <a:xfrm>
            <a:off x="1110774" y="1968191"/>
            <a:ext cx="123359" cy="12024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148002-C652-B39F-7259-84E6F1EE88FF}"/>
              </a:ext>
            </a:extLst>
          </p:cNvPr>
          <p:cNvCxnSpPr>
            <a:cxnSpLocks/>
            <a:stCxn id="8" idx="3"/>
          </p:cNvCxnSpPr>
          <p:nvPr/>
        </p:nvCxnSpPr>
        <p:spPr>
          <a:xfrm flipH="1">
            <a:off x="1814826" y="2658648"/>
            <a:ext cx="643352" cy="6498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1C4E93C-0BAF-6ECF-6311-BFAEC4F7F4AB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2099949" y="3209465"/>
            <a:ext cx="2282860" cy="5750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263312-C015-27AC-7BFC-9A71F7DC0878}"/>
              </a:ext>
            </a:extLst>
          </p:cNvPr>
          <p:cNvCxnSpPr>
            <a:cxnSpLocks/>
            <a:stCxn id="10" idx="2"/>
          </p:cNvCxnSpPr>
          <p:nvPr/>
        </p:nvCxnSpPr>
        <p:spPr>
          <a:xfrm flipH="1" flipV="1">
            <a:off x="2203834" y="4232483"/>
            <a:ext cx="830774" cy="1528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FF855FE-1202-91C4-1D7E-A2228A8DFCEC}"/>
              </a:ext>
            </a:extLst>
          </p:cNvPr>
          <p:cNvCxnSpPr>
            <a:cxnSpLocks/>
            <a:endCxn id="6" idx="5"/>
          </p:cNvCxnSpPr>
          <p:nvPr/>
        </p:nvCxnSpPr>
        <p:spPr>
          <a:xfrm flipH="1" flipV="1">
            <a:off x="1987438" y="4669922"/>
            <a:ext cx="2192962" cy="11821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C2CFB1E-4E23-6A6F-D9A2-1EDEDA6DE944}"/>
              </a:ext>
            </a:extLst>
          </p:cNvPr>
          <p:cNvCxnSpPr>
            <a:cxnSpLocks/>
          </p:cNvCxnSpPr>
          <p:nvPr/>
        </p:nvCxnSpPr>
        <p:spPr>
          <a:xfrm flipH="1" flipV="1">
            <a:off x="768861" y="4715120"/>
            <a:ext cx="249227" cy="5650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BF9F0676-46DC-C05F-8299-9AC945D9D29A}"/>
              </a:ext>
            </a:extLst>
          </p:cNvPr>
          <p:cNvSpPr/>
          <p:nvPr/>
        </p:nvSpPr>
        <p:spPr>
          <a:xfrm>
            <a:off x="488149" y="3170633"/>
            <a:ext cx="1756526" cy="1756526"/>
          </a:xfrm>
          <a:prstGeom prst="ellipse">
            <a:avLst/>
          </a:prstGeom>
          <a:gradFill flip="none" rotWithShape="1">
            <a:gsLst>
              <a:gs pos="0">
                <a:schemeClr val="accent3"/>
              </a:gs>
              <a:gs pos="63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2" name="Picture 31" descr="A close-up of a device&#10;&#10;Description automatically generated">
            <a:extLst>
              <a:ext uri="{FF2B5EF4-FFF2-40B4-BE49-F238E27FC236}">
                <a16:creationId xmlns:a16="http://schemas.microsoft.com/office/drawing/2014/main" id="{F52F55E7-4DE9-713F-3AD3-E446C8B4565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69692">
            <a:off x="141748" y="3341660"/>
            <a:ext cx="2335420" cy="1389403"/>
          </a:xfrm>
          <a:prstGeom prst="rect">
            <a:avLst/>
          </a:prstGeom>
        </p:spPr>
      </p:pic>
      <p:pic>
        <p:nvPicPr>
          <p:cNvPr id="2" name="Graphic 1" descr="Earth globe: Americas with solid fill">
            <a:extLst>
              <a:ext uri="{FF2B5EF4-FFF2-40B4-BE49-F238E27FC236}">
                <a16:creationId xmlns:a16="http://schemas.microsoft.com/office/drawing/2014/main" id="{C1D2576F-F61A-71C7-E84B-285BADA3A6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35922" y="1968191"/>
            <a:ext cx="722352" cy="740937"/>
          </a:xfrm>
          <a:prstGeom prst="rect">
            <a:avLst/>
          </a:prstGeom>
        </p:spPr>
      </p:pic>
      <p:pic>
        <p:nvPicPr>
          <p:cNvPr id="1026" name="Picture 2" descr="5 Reasons to Move to Golden | Prevu">
            <a:extLst>
              <a:ext uri="{FF2B5EF4-FFF2-40B4-BE49-F238E27FC236}">
                <a16:creationId xmlns:a16="http://schemas.microsoft.com/office/drawing/2014/main" id="{9D4B99F8-3567-25D9-83F3-086B0E51C9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6"/>
          <a:stretch/>
        </p:blipFill>
        <p:spPr bwMode="auto">
          <a:xfrm>
            <a:off x="7336817" y="3177487"/>
            <a:ext cx="4775872" cy="3200501"/>
          </a:xfrm>
          <a:prstGeom prst="roundRect">
            <a:avLst>
              <a:gd name="adj" fmla="val 724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04618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2A7C113-E644-B433-D233-10305BF3B805}"/>
              </a:ext>
            </a:extLst>
          </p:cNvPr>
          <p:cNvSpPr/>
          <p:nvPr/>
        </p:nvSpPr>
        <p:spPr>
          <a:xfrm>
            <a:off x="3245843" y="2077875"/>
            <a:ext cx="5360988" cy="1651000"/>
          </a:xfrm>
          <a:prstGeom prst="roundRect">
            <a:avLst/>
          </a:prstGeom>
          <a:solidFill>
            <a:schemeClr val="tx2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E3282A8-3A4A-2953-3071-6C9FCEC86EFC}"/>
              </a:ext>
            </a:extLst>
          </p:cNvPr>
          <p:cNvSpPr/>
          <p:nvPr/>
        </p:nvSpPr>
        <p:spPr>
          <a:xfrm>
            <a:off x="3279775" y="3797777"/>
            <a:ext cx="5360988" cy="1463198"/>
          </a:xfrm>
          <a:prstGeom prst="roundRect">
            <a:avLst/>
          </a:prstGeom>
          <a:solidFill>
            <a:schemeClr val="tx2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99C9844-EE65-AD33-E5AD-7D852B19A182}"/>
              </a:ext>
            </a:extLst>
          </p:cNvPr>
          <p:cNvSpPr/>
          <p:nvPr/>
        </p:nvSpPr>
        <p:spPr>
          <a:xfrm>
            <a:off x="3279775" y="5352227"/>
            <a:ext cx="5360988" cy="1329561"/>
          </a:xfrm>
          <a:prstGeom prst="roundRect">
            <a:avLst/>
          </a:prstGeom>
          <a:solidFill>
            <a:schemeClr val="tx2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A6569C8-248A-A849-EAF3-041090260474}"/>
              </a:ext>
            </a:extLst>
          </p:cNvPr>
          <p:cNvSpPr/>
          <p:nvPr/>
        </p:nvSpPr>
        <p:spPr>
          <a:xfrm>
            <a:off x="7469188" y="5444014"/>
            <a:ext cx="4110037" cy="1082199"/>
          </a:xfrm>
          <a:prstGeom prst="roundRect">
            <a:avLst/>
          </a:prstGeom>
          <a:solidFill>
            <a:schemeClr val="tx1">
              <a:lumMod val="95000"/>
              <a:lumOff val="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E0C0977-C6FB-09D1-76AB-6387F8DD3C8D}"/>
              </a:ext>
            </a:extLst>
          </p:cNvPr>
          <p:cNvSpPr/>
          <p:nvPr/>
        </p:nvSpPr>
        <p:spPr>
          <a:xfrm>
            <a:off x="7469188" y="3823438"/>
            <a:ext cx="4110037" cy="1329588"/>
          </a:xfrm>
          <a:prstGeom prst="roundRect">
            <a:avLst/>
          </a:prstGeom>
          <a:solidFill>
            <a:schemeClr val="tx1">
              <a:lumMod val="95000"/>
              <a:lumOff val="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7A2D466-0B83-D6BB-B5FC-CFC284CE9A54}"/>
              </a:ext>
            </a:extLst>
          </p:cNvPr>
          <p:cNvSpPr/>
          <p:nvPr/>
        </p:nvSpPr>
        <p:spPr>
          <a:xfrm>
            <a:off x="7469188" y="2236413"/>
            <a:ext cx="4110037" cy="1408112"/>
          </a:xfrm>
          <a:prstGeom prst="roundRect">
            <a:avLst/>
          </a:prstGeom>
          <a:solidFill>
            <a:schemeClr val="tx1">
              <a:lumMod val="95000"/>
              <a:lumOff val="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775C6F7-CFDD-4E98-F2D4-03022DCA5404}"/>
              </a:ext>
            </a:extLst>
          </p:cNvPr>
          <p:cNvSpPr/>
          <p:nvPr/>
        </p:nvSpPr>
        <p:spPr>
          <a:xfrm>
            <a:off x="354013" y="5436551"/>
            <a:ext cx="4110037" cy="1089662"/>
          </a:xfrm>
          <a:prstGeom prst="roundRect">
            <a:avLst/>
          </a:prstGeom>
          <a:solidFill>
            <a:schemeClr val="tx1">
              <a:lumMod val="95000"/>
              <a:lumOff val="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59FE21A-04E8-DE7B-47BE-ED58CA874CDE}"/>
              </a:ext>
            </a:extLst>
          </p:cNvPr>
          <p:cNvSpPr/>
          <p:nvPr/>
        </p:nvSpPr>
        <p:spPr>
          <a:xfrm>
            <a:off x="354013" y="3818332"/>
            <a:ext cx="4110037" cy="1342632"/>
          </a:xfrm>
          <a:prstGeom prst="roundRect">
            <a:avLst/>
          </a:prstGeom>
          <a:solidFill>
            <a:schemeClr val="tx1">
              <a:lumMod val="95000"/>
              <a:lumOff val="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9C83161-7B78-251A-5E1C-63DF74E40EB5}"/>
              </a:ext>
            </a:extLst>
          </p:cNvPr>
          <p:cNvSpPr/>
          <p:nvPr/>
        </p:nvSpPr>
        <p:spPr>
          <a:xfrm>
            <a:off x="354013" y="2206625"/>
            <a:ext cx="4110037" cy="1408113"/>
          </a:xfrm>
          <a:prstGeom prst="roundRect">
            <a:avLst/>
          </a:prstGeom>
          <a:solidFill>
            <a:schemeClr val="tx1">
              <a:lumMod val="95000"/>
              <a:lumOff val="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E6F6F9-2071-5A7C-E58B-22D807757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176213"/>
            <a:ext cx="11605196" cy="830262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PharmaJet Needle-Free Delivery System Components</a:t>
            </a:r>
          </a:p>
        </p:txBody>
      </p:sp>
      <p:sp>
        <p:nvSpPr>
          <p:cNvPr id="167948" name="Slide Number Placeholder 2">
            <a:extLst>
              <a:ext uri="{FF2B5EF4-FFF2-40B4-BE49-F238E27FC236}">
                <a16:creationId xmlns:a16="http://schemas.microsoft.com/office/drawing/2014/main" id="{FD93E69B-97FA-09BD-AAD7-C6856F13F0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650663" y="6565900"/>
            <a:ext cx="381000" cy="2159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FA4E25E-E246-4B8D-BF5F-D7384A0AA263}" type="slidenum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67949" name="Picture 4" descr="A close-up of a knife&#10;&#10;Description automatically generated with medium confidence">
            <a:extLst>
              <a:ext uri="{FF2B5EF4-FFF2-40B4-BE49-F238E27FC236}">
                <a16:creationId xmlns:a16="http://schemas.microsoft.com/office/drawing/2014/main" id="{6CC169C6-BFB9-CFC0-0F46-4FB0874B4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483624">
            <a:off x="2579688" y="2405063"/>
            <a:ext cx="1665287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950" name="Picture 5" descr="A picture containing indoor, green, dark&#10;&#10;Description automatically generated">
            <a:extLst>
              <a:ext uri="{FF2B5EF4-FFF2-40B4-BE49-F238E27FC236}">
                <a16:creationId xmlns:a16="http://schemas.microsoft.com/office/drawing/2014/main" id="{0E5F5E56-7365-CA2A-9D9F-D220C0F39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2988" y="3818331"/>
            <a:ext cx="543903" cy="1414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951" name="Picture 6" descr="A picture containing blue&#10;&#10;Description automatically generated">
            <a:extLst>
              <a:ext uri="{FF2B5EF4-FFF2-40B4-BE49-F238E27FC236}">
                <a16:creationId xmlns:a16="http://schemas.microsoft.com/office/drawing/2014/main" id="{60937ABB-7CB7-7839-8E35-24760DAC80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48270">
            <a:off x="3433763" y="5765800"/>
            <a:ext cx="67945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952" name="Picture 7">
            <a:extLst>
              <a:ext uri="{FF2B5EF4-FFF2-40B4-BE49-F238E27FC236}">
                <a16:creationId xmlns:a16="http://schemas.microsoft.com/office/drawing/2014/main" id="{DEEF8CBB-FBE2-321C-30C4-92A53A2CF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56444">
            <a:off x="7585285" y="2528849"/>
            <a:ext cx="2066925" cy="93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954" name="Picture 9" descr="A picture containing indoor, plastic&#10;&#10;Description automatically generated">
            <a:extLst>
              <a:ext uri="{FF2B5EF4-FFF2-40B4-BE49-F238E27FC236}">
                <a16:creationId xmlns:a16="http://schemas.microsoft.com/office/drawing/2014/main" id="{DA6CEF37-8CD7-817E-1730-50FCF4AD7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623632">
            <a:off x="7345428" y="4133607"/>
            <a:ext cx="1263329" cy="820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956" name="Picture 11" descr="A picture containing cup, plastic&#10;&#10;Description automatically generated">
            <a:extLst>
              <a:ext uri="{FF2B5EF4-FFF2-40B4-BE49-F238E27FC236}">
                <a16:creationId xmlns:a16="http://schemas.microsoft.com/office/drawing/2014/main" id="{496A16D1-8BFD-9898-8879-C5F7BB3D3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8322">
            <a:off x="7804150" y="5776913"/>
            <a:ext cx="63023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7957" name="TextBox 12">
            <a:extLst>
              <a:ext uri="{FF2B5EF4-FFF2-40B4-BE49-F238E27FC236}">
                <a16:creationId xmlns:a16="http://schemas.microsoft.com/office/drawing/2014/main" id="{7F11ACA0-8171-2A5B-F91A-8410C52BDA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0287" y="4214019"/>
            <a:ext cx="25114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eedle-free Syringes</a:t>
            </a:r>
          </a:p>
        </p:txBody>
      </p:sp>
      <p:sp>
        <p:nvSpPr>
          <p:cNvPr id="167958" name="TextBox 14">
            <a:extLst>
              <a:ext uri="{FF2B5EF4-FFF2-40B4-BE49-F238E27FC236}">
                <a16:creationId xmlns:a16="http://schemas.microsoft.com/office/drawing/2014/main" id="{AB8F5D34-8313-798A-A6B1-5E94C1408E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013" y="2611438"/>
            <a:ext cx="206454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pring loading achieved with injector handles</a:t>
            </a:r>
          </a:p>
        </p:txBody>
      </p:sp>
      <p:sp>
        <p:nvSpPr>
          <p:cNvPr id="167959" name="TextBox 15">
            <a:extLst>
              <a:ext uri="{FF2B5EF4-FFF2-40B4-BE49-F238E27FC236}">
                <a16:creationId xmlns:a16="http://schemas.microsoft.com/office/drawing/2014/main" id="{44391C78-D4FE-E3F4-A198-00F9A45FD7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9950" y="2611438"/>
            <a:ext cx="201909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pring loading achieved by use of 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eset Station*</a:t>
            </a:r>
          </a:p>
        </p:txBody>
      </p:sp>
      <p:sp>
        <p:nvSpPr>
          <p:cNvPr id="167960" name="TextBox 16">
            <a:extLst>
              <a:ext uri="{FF2B5EF4-FFF2-40B4-BE49-F238E27FC236}">
                <a16:creationId xmlns:a16="http://schemas.microsoft.com/office/drawing/2014/main" id="{03CA4715-A229-BF47-4D13-80D54DAA65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29383" y="2244519"/>
            <a:ext cx="173747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elivery Injector Types</a:t>
            </a:r>
          </a:p>
        </p:txBody>
      </p:sp>
      <p:sp>
        <p:nvSpPr>
          <p:cNvPr id="167961" name="TextBox 17">
            <a:extLst>
              <a:ext uri="{FF2B5EF4-FFF2-40B4-BE49-F238E27FC236}">
                <a16:creationId xmlns:a16="http://schemas.microsoft.com/office/drawing/2014/main" id="{3DAEBF77-97EE-D57E-6613-CF2CF61469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4786" y="5654285"/>
            <a:ext cx="16224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dapters</a:t>
            </a:r>
          </a:p>
        </p:txBody>
      </p:sp>
      <p:sp>
        <p:nvSpPr>
          <p:cNvPr id="167962" name="TextBox 1">
            <a:extLst>
              <a:ext uri="{FF2B5EF4-FFF2-40B4-BE49-F238E27FC236}">
                <a16:creationId xmlns:a16="http://schemas.microsoft.com/office/drawing/2014/main" id="{47A2B954-1A82-2814-32D9-968CD15119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441" y="4559589"/>
            <a:ext cx="213201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0.1ml fixed volume</a:t>
            </a:r>
          </a:p>
        </p:txBody>
      </p:sp>
      <p:sp>
        <p:nvSpPr>
          <p:cNvPr id="167963" name="TextBox 18">
            <a:extLst>
              <a:ext uri="{FF2B5EF4-FFF2-40B4-BE49-F238E27FC236}">
                <a16:creationId xmlns:a16="http://schemas.microsoft.com/office/drawing/2014/main" id="{63F6ED48-6FA4-2CB2-F8B0-C3BE0D7DC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30801" y="4489904"/>
            <a:ext cx="21304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0.5ml fixed volume</a:t>
            </a:r>
          </a:p>
        </p:txBody>
      </p:sp>
      <p:sp>
        <p:nvSpPr>
          <p:cNvPr id="167964" name="TextBox 19">
            <a:extLst>
              <a:ext uri="{FF2B5EF4-FFF2-40B4-BE49-F238E27FC236}">
                <a16:creationId xmlns:a16="http://schemas.microsoft.com/office/drawing/2014/main" id="{0887C91F-BC34-AE85-F166-08C1654FD6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0" y="5851662"/>
            <a:ext cx="25161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ts up to 20mm vials</a:t>
            </a:r>
          </a:p>
        </p:txBody>
      </p:sp>
      <p:sp>
        <p:nvSpPr>
          <p:cNvPr id="167965" name="TextBox 20">
            <a:extLst>
              <a:ext uri="{FF2B5EF4-FFF2-40B4-BE49-F238E27FC236}">
                <a16:creationId xmlns:a16="http://schemas.microsoft.com/office/drawing/2014/main" id="{AC97CF3A-6458-EE53-0724-C3E8C71BC1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1795" y="5823145"/>
            <a:ext cx="24167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ts up to 20mm vials</a:t>
            </a:r>
          </a:p>
        </p:txBody>
      </p:sp>
      <p:sp>
        <p:nvSpPr>
          <p:cNvPr id="167966" name="TextBox 21">
            <a:extLst>
              <a:ext uri="{FF2B5EF4-FFF2-40B4-BE49-F238E27FC236}">
                <a16:creationId xmlns:a16="http://schemas.microsoft.com/office/drawing/2014/main" id="{965925B8-4B8B-AE55-1AFE-FA816F74D3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566" y="1157288"/>
            <a:ext cx="3964696" cy="461962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ropis</a:t>
            </a:r>
            <a:r>
              <a:rPr kumimoji="0" lang="en-US" alt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03C4C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kumimoji="0" lang="en-US" alt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®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4AADC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ID</a:t>
            </a:r>
          </a:p>
        </p:txBody>
      </p:sp>
      <p:sp>
        <p:nvSpPr>
          <p:cNvPr id="167967" name="TextBox 22">
            <a:extLst>
              <a:ext uri="{FF2B5EF4-FFF2-40B4-BE49-F238E27FC236}">
                <a16:creationId xmlns:a16="http://schemas.microsoft.com/office/drawing/2014/main" id="{805D2C63-C741-3D28-D430-BE64E7F15A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1858" y="1137199"/>
            <a:ext cx="3964695" cy="461962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rgbClr val="34AAD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tratis ® </a:t>
            </a:r>
            <a:r>
              <a:rPr lang="en-US" altLang="en-US" sz="2000" b="1" dirty="0">
                <a:solidFill>
                  <a:srgbClr val="34AAD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/S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065481F-476E-AEA5-2192-B3BD5CE44987}"/>
              </a:ext>
            </a:extLst>
          </p:cNvPr>
          <p:cNvSpPr txBox="1"/>
          <p:nvPr/>
        </p:nvSpPr>
        <p:spPr>
          <a:xfrm>
            <a:off x="5121485" y="2823707"/>
            <a:ext cx="21478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usable up to 20,000 inject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0191B7E-6BE9-66F5-5D2B-32654723F28E}"/>
              </a:ext>
            </a:extLst>
          </p:cNvPr>
          <p:cNvSpPr txBox="1"/>
          <p:nvPr/>
        </p:nvSpPr>
        <p:spPr>
          <a:xfrm>
            <a:off x="4972049" y="4600575"/>
            <a:ext cx="24039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illed at bedsi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ingle-use, disposab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B8D3E1C-2579-DE0B-656E-0F764111B714}"/>
              </a:ext>
            </a:extLst>
          </p:cNvPr>
          <p:cNvSpPr txBox="1"/>
          <p:nvPr/>
        </p:nvSpPr>
        <p:spPr>
          <a:xfrm>
            <a:off x="4596445" y="6017615"/>
            <a:ext cx="31551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ttaches syringe to vi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ingle-use per vial, disposab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AE4A49-0CBE-CDA5-04A8-D66465E659AF}"/>
              </a:ext>
            </a:extLst>
          </p:cNvPr>
          <p:cNvSpPr txBox="1"/>
          <p:nvPr/>
        </p:nvSpPr>
        <p:spPr>
          <a:xfrm>
            <a:off x="9157494" y="6611779"/>
            <a:ext cx="2165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  <a:lumOff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* Reset station not show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0-15 second update Tropis Workflow Trimmed video">
            <a:hlinkClick r:id="" action="ppaction://media"/>
            <a:extLst>
              <a:ext uri="{FF2B5EF4-FFF2-40B4-BE49-F238E27FC236}">
                <a16:creationId xmlns:a16="http://schemas.microsoft.com/office/drawing/2014/main" id="{D443F03D-21D0-9870-2E43-A66D4E6A097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177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5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981A109-BDA7-2D8A-247F-7F62686EF8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554" y="2216265"/>
            <a:ext cx="6249648" cy="3250970"/>
          </a:xfrm>
          <a:prstGeom prst="rect">
            <a:avLst/>
          </a:prstGeom>
        </p:spPr>
      </p:pic>
      <p:sp>
        <p:nvSpPr>
          <p:cNvPr id="171010" name="Title 19">
            <a:extLst>
              <a:ext uri="{FF2B5EF4-FFF2-40B4-BE49-F238E27FC236}">
                <a16:creationId xmlns:a16="http://schemas.microsoft.com/office/drawing/2014/main" id="{5FE21300-9405-65F9-DB3D-29A90B4C62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7500" y="17463"/>
            <a:ext cx="11874500" cy="1100137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en-US">
                <a:latin typeface="Poppins" panose="00000500000000000000" pitchFamily="2" charset="0"/>
                <a:cs typeface="Poppins" panose="00000500000000000000" pitchFamily="2" charset="0"/>
              </a:rPr>
              <a:t>Market Access through Global Partners and Regulatory Clearances</a:t>
            </a:r>
          </a:p>
        </p:txBody>
      </p:sp>
      <p:sp>
        <p:nvSpPr>
          <p:cNvPr id="171011" name="Slide Number Placeholder 2">
            <a:extLst>
              <a:ext uri="{FF2B5EF4-FFF2-40B4-BE49-F238E27FC236}">
                <a16:creationId xmlns:a16="http://schemas.microsoft.com/office/drawing/2014/main" id="{C75C2304-44E2-0D15-9125-87AEA4ADA25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9D37A4-8E7B-4DD1-8766-4705C17D81B6}" type="slidenum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71013" name="Content Placeholder 2">
            <a:extLst>
              <a:ext uri="{FF2B5EF4-FFF2-40B4-BE49-F238E27FC236}">
                <a16:creationId xmlns:a16="http://schemas.microsoft.com/office/drawing/2014/main" id="{1FD7F96C-A968-BCCB-802C-8F2F797624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5862" y="5553955"/>
            <a:ext cx="9820275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defRPr>
                <a:solidFill>
                  <a:schemeClr val="tx1"/>
                </a:solidFill>
                <a:latin typeface="Montserrat" panose="00000500000000000000" pitchFamily="2" charset="0"/>
              </a:defRPr>
            </a:lvl1pPr>
            <a:lvl2pPr marL="382588" indent="-182563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Montserrat" panose="00000500000000000000" pitchFamily="2" charset="0"/>
              </a:defRPr>
            </a:lvl2pPr>
            <a:lvl3pPr marL="566738" indent="-182563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9000"/>
              <a:buFont typeface="Courier New" panose="02070309020205020404" pitchFamily="49" charset="0"/>
              <a:buChar char="o"/>
              <a:tabLst>
                <a:tab pos="798513" algn="l"/>
              </a:tabLst>
              <a:defRPr sz="1200">
                <a:solidFill>
                  <a:schemeClr val="tx1"/>
                </a:solidFill>
                <a:latin typeface="Montserrat" panose="00000500000000000000" pitchFamily="2" charset="0"/>
              </a:defRPr>
            </a:lvl3pPr>
            <a:lvl4pPr marL="749300" indent="-182563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688975" algn="l"/>
              </a:tabLst>
              <a:defRPr sz="1100">
                <a:solidFill>
                  <a:schemeClr val="tx1"/>
                </a:solidFill>
                <a:latin typeface="Montserrat" panose="00000500000000000000" pitchFamily="2" charset="0"/>
              </a:defRPr>
            </a:lvl4pPr>
            <a:lvl5pPr marL="931863" indent="-182563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Montserrat" panose="00000500000000000000" pitchFamily="2" charset="0"/>
              </a:defRPr>
            </a:lvl5pPr>
            <a:lvl6pPr marL="1389063" indent="-1825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Montserrat" panose="00000500000000000000" pitchFamily="2" charset="0"/>
              </a:defRPr>
            </a:lvl6pPr>
            <a:lvl7pPr marL="1846263" indent="-1825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Montserrat" panose="00000500000000000000" pitchFamily="2" charset="0"/>
              </a:defRPr>
            </a:lvl7pPr>
            <a:lvl8pPr marL="2303463" indent="-1825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Montserrat" panose="00000500000000000000" pitchFamily="2" charset="0"/>
              </a:defRPr>
            </a:lvl8pPr>
            <a:lvl9pPr marL="2760663" indent="-1825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Montserrat" panose="00000500000000000000" pitchFamily="2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>
                <a:srgbClr val="34AADC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harmaJet’s needle-free injection devices are the first </a:t>
            </a: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3471B8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nd only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 achieve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471B8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ld Health Organization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andards for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471B8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e-qualification.</a:t>
            </a:r>
          </a:p>
        </p:txBody>
      </p:sp>
      <p:pic>
        <p:nvPicPr>
          <p:cNvPr id="171015" name="Picture 6">
            <a:extLst>
              <a:ext uri="{FF2B5EF4-FFF2-40B4-BE49-F238E27FC236}">
                <a16:creationId xmlns:a16="http://schemas.microsoft.com/office/drawing/2014/main" id="{CF2E207C-A51D-7941-86E1-E9BE87D231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8499" y="3750082"/>
            <a:ext cx="4333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017" name="TextBox 8">
            <a:extLst>
              <a:ext uri="{FF2B5EF4-FFF2-40B4-BE49-F238E27FC236}">
                <a16:creationId xmlns:a16="http://schemas.microsoft.com/office/drawing/2014/main" id="{4AD9FC20-41C4-030C-187E-4819505FD9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288" y="1663700"/>
            <a:ext cx="606107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30000" noProof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lobal Development and Commercial Partnerships</a:t>
            </a:r>
          </a:p>
        </p:txBody>
      </p:sp>
      <p:pic>
        <p:nvPicPr>
          <p:cNvPr id="171018" name="Graphic 9" descr="Marker">
            <a:extLst>
              <a:ext uri="{FF2B5EF4-FFF2-40B4-BE49-F238E27FC236}">
                <a16:creationId xmlns:a16="http://schemas.microsoft.com/office/drawing/2014/main" id="{A78C5A4D-38BE-9F79-3181-35F4F4564E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713" y="3455988"/>
            <a:ext cx="17621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019" name="TextBox 10">
            <a:extLst>
              <a:ext uri="{FF2B5EF4-FFF2-40B4-BE49-F238E27FC236}">
                <a16:creationId xmlns:a16="http://schemas.microsoft.com/office/drawing/2014/main" id="{E804F4A1-0828-0272-27F2-EA3ED1A3F1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360" y="3496340"/>
            <a:ext cx="13414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3C4C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eadquarters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3C4C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olden, CO, USA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C2704A-BCAC-5553-96A9-2B593571ABA6}"/>
              </a:ext>
            </a:extLst>
          </p:cNvPr>
          <p:cNvCxnSpPr>
            <a:cxnSpLocks/>
          </p:cNvCxnSpPr>
          <p:nvPr/>
        </p:nvCxnSpPr>
        <p:spPr>
          <a:xfrm>
            <a:off x="6608763" y="1630363"/>
            <a:ext cx="0" cy="370363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3623476-F206-0D4B-BCD7-99EE498ACBC8}"/>
              </a:ext>
            </a:extLst>
          </p:cNvPr>
          <p:cNvSpPr txBox="1"/>
          <p:nvPr/>
        </p:nvSpPr>
        <p:spPr>
          <a:xfrm>
            <a:off x="6811963" y="1663700"/>
            <a:ext cx="4843462" cy="941388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gulatory Clearan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Segoe UI" panose="020B0502040204020203" pitchFamily="34" charset="0"/>
              </a:rPr>
              <a:t>PharmaJet’s Needle-free Injection Systems are validated commercial devices, having several regulatory clearances across the globe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4240C8-AFB4-591C-6249-E5C04D3B16B6}"/>
              </a:ext>
            </a:extLst>
          </p:cNvPr>
          <p:cNvSpPr txBox="1"/>
          <p:nvPr/>
        </p:nvSpPr>
        <p:spPr>
          <a:xfrm>
            <a:off x="6854825" y="2817813"/>
            <a:ext cx="1930400" cy="14619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opi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gistrations: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S FDA Master File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uropean Union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HO/PQS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84F3E8-C50A-0EA4-55D0-5656B2D9C263}"/>
              </a:ext>
            </a:extLst>
          </p:cNvPr>
          <p:cNvSpPr txBox="1"/>
          <p:nvPr/>
        </p:nvSpPr>
        <p:spPr>
          <a:xfrm>
            <a:off x="8864600" y="2817813"/>
            <a:ext cx="1874838" cy="109260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rati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97C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gistrations: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S FDA 510(k)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uropean Union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471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HO/PQ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35027C-CFD8-AD8C-96A7-EA7ED0EF2B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03716" y="2931476"/>
            <a:ext cx="508170" cy="5042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2765A9B-6B9B-46B5-8C36-F04C08916EE1}"/>
              </a:ext>
            </a:extLst>
          </p:cNvPr>
          <p:cNvSpPr txBox="1"/>
          <p:nvPr/>
        </p:nvSpPr>
        <p:spPr>
          <a:xfrm>
            <a:off x="6806325" y="4208052"/>
            <a:ext cx="419981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tact PharmaJet for details on Regulatory Clearance in a specific country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3E188F-7A3B-819A-E5B6-91DD03DC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Title 1">
            <a:extLst>
              <a:ext uri="{FF2B5EF4-FFF2-40B4-BE49-F238E27FC236}">
                <a16:creationId xmlns:a16="http://schemas.microsoft.com/office/drawing/2014/main" id="{8A0B4D64-3B88-3232-5D08-DD5E4B485B5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7500" y="17463"/>
            <a:ext cx="11441113" cy="1100137"/>
          </a:xfrm>
        </p:spPr>
        <p:txBody>
          <a:bodyPr/>
          <a:lstStyle/>
          <a:p>
            <a:pPr eaLnBrk="1" hangingPunct="1"/>
            <a:r>
              <a:rPr lang="en-US" altLang="en-US" dirty="0"/>
              <a:t>The Benefits of Intradermal (ID) Delivery</a:t>
            </a:r>
          </a:p>
        </p:txBody>
      </p:sp>
      <p:sp>
        <p:nvSpPr>
          <p:cNvPr id="191491" name="Slide Number Placeholder 3">
            <a:extLst>
              <a:ext uri="{FF2B5EF4-FFF2-40B4-BE49-F238E27FC236}">
                <a16:creationId xmlns:a16="http://schemas.microsoft.com/office/drawing/2014/main" id="{F9545BF7-80A5-F3FB-859F-6DEFF92EA27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1DBB8A-5A2C-4723-BA14-938C92639291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DE24B8A6-76B4-17A2-8725-B5A4A0CE0DEF}"/>
              </a:ext>
            </a:extLst>
          </p:cNvPr>
          <p:cNvSpPr txBox="1">
            <a:spLocks/>
          </p:cNvSpPr>
          <p:nvPr/>
        </p:nvSpPr>
        <p:spPr>
          <a:xfrm>
            <a:off x="0" y="1127125"/>
            <a:ext cx="4982617" cy="5730875"/>
          </a:xfrm>
          <a:prstGeom prst="rect">
            <a:avLst/>
          </a:prstGeom>
          <a:solidFill>
            <a:srgbClr val="C9DEEE"/>
          </a:solidFill>
        </p:spPr>
        <p:txBody>
          <a:bodyPr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34AAD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duce long-lived antibody responses 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34AADC"/>
              </a:buClr>
              <a:buSzPct val="7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rmal Dendritic Cells and Langerhans cells are pivotal at promoting follicular helper CD4+ T cell differentiation, germinal centers formation and B cell maturation </a:t>
            </a:r>
            <a:r>
              <a:rPr kumimoji="0" lang="en-US" sz="1600" b="0" i="0" u="none" strike="noStrike" kern="1200" cap="none" spc="0" normalizeH="0" baseline="3000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0" noProof="0" dirty="0">
              <a:ln/>
              <a:solidFill>
                <a:srgbClr val="3471B8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34AAD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mote CD8+ T cell responses 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34AADC"/>
              </a:buClr>
              <a:buSzPct val="7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kin resident APCs have the ability to migrate to lymph nodes and bone marrow, to present processed antigens with MHC Class I and to initiate CD8+ T cell responses </a:t>
            </a:r>
            <a:r>
              <a:rPr kumimoji="0" lang="en-US" sz="1600" b="0" i="0" u="none" strike="noStrike" kern="1200" cap="none" spc="0" normalizeH="0" baseline="3000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,</a:t>
            </a:r>
            <a:endParaRPr kumimoji="0" lang="en-US" sz="1200" b="0" i="0" u="none" strike="noStrike" kern="1200" cap="none" spc="0" normalizeH="0" baseline="30000" noProof="0" dirty="0">
              <a:ln/>
              <a:solidFill>
                <a:srgbClr val="3471B8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34AADC"/>
              </a:buClr>
              <a:buSzPct val="75000"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1" i="0" u="none" strike="noStrike" kern="1200" cap="none" spc="0" normalizeH="0" baseline="0" noProof="0" dirty="0">
              <a:ln/>
              <a:solidFill>
                <a:srgbClr val="3471B8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91493" name="Picture 7" descr="A diagram of a cell structure&#10;&#10;Description automatically generated with medium confidence">
            <a:extLst>
              <a:ext uri="{FF2B5EF4-FFF2-40B4-BE49-F238E27FC236}">
                <a16:creationId xmlns:a16="http://schemas.microsoft.com/office/drawing/2014/main" id="{6939BAA2-6E82-8A75-8AB7-E59D07186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5"/>
          <a:stretch>
            <a:fillRect/>
          </a:stretch>
        </p:blipFill>
        <p:spPr bwMode="auto">
          <a:xfrm>
            <a:off x="5241925" y="1127125"/>
            <a:ext cx="5953125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8BBDF61-15D6-2AB6-AD44-9D64DD4679D9}"/>
              </a:ext>
            </a:extLst>
          </p:cNvPr>
          <p:cNvSpPr txBox="1"/>
          <p:nvPr/>
        </p:nvSpPr>
        <p:spPr>
          <a:xfrm>
            <a:off x="5063080" y="5616265"/>
            <a:ext cx="7019925" cy="1173163"/>
          </a:xfrm>
          <a:prstGeom prst="rect">
            <a:avLst/>
          </a:prstGeom>
          <a:noFill/>
        </p:spPr>
        <p:txBody>
          <a:bodyPr/>
          <a:lstStyle/>
          <a:p>
            <a:pPr marL="169863" marR="0" lvl="0" indent="-169863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4AAD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ich in diversity of Antigen Presenting Cells (APCs) </a:t>
            </a:r>
            <a:r>
              <a:rPr kumimoji="0" lang="en-US" sz="160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78CC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511175" marR="0" lvl="1" indent="-169863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4AAD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angerhans cells, dendritic cells, macrophages, monocytes and neutrophils</a:t>
            </a:r>
          </a:p>
          <a:p>
            <a:pPr marL="169863" marR="0" lvl="0" indent="-169863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4AAD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ymph ducts allowing migration of antigens and APCs to lymph nodes </a:t>
            </a:r>
            <a:r>
              <a:rPr kumimoji="0" lang="en-US" sz="160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4AADC"/>
              </a:buClr>
              <a:buSzTx/>
              <a:buFontTx/>
              <a:buNone/>
              <a:tabLst/>
              <a:defRPr/>
            </a:pPr>
            <a:r>
              <a:rPr lang="en-US" sz="1100" dirty="0"/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678CC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A2DBD4-7D55-A564-6575-A3C424BF9B0E}"/>
              </a:ext>
            </a:extLst>
          </p:cNvPr>
          <p:cNvSpPr txBox="1"/>
          <p:nvPr/>
        </p:nvSpPr>
        <p:spPr>
          <a:xfrm>
            <a:off x="0" y="6466262"/>
            <a:ext cx="107226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ln/>
                <a:solidFill>
                  <a:srgbClr val="3471B8">
                    <a:lumMod val="50000"/>
                  </a:srgbClr>
                </a:solidFill>
              </a:rPr>
              <a:t>1. West, H. C., &amp; Bennett, C. L. (2018). Redefining the Role of Langerhans Cells As Immune Regulators within the Skin. Front. Immunol. 8(1941),1-5.       </a:t>
            </a:r>
            <a:r>
              <a:rPr kumimoji="0" lang="en-US" sz="600" b="0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2.</a:t>
            </a:r>
            <a:r>
              <a:rPr lang="en-US" sz="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600" dirty="0">
                <a:ln/>
                <a:solidFill>
                  <a:srgbClr val="3471B8">
                    <a:lumMod val="50000"/>
                  </a:srgbClr>
                </a:solidFill>
              </a:rPr>
              <a:t>Kashem, S. W., </a:t>
            </a:r>
            <a:r>
              <a:rPr lang="en-US" sz="600" dirty="0" err="1">
                <a:ln/>
                <a:solidFill>
                  <a:srgbClr val="3471B8">
                    <a:lumMod val="50000"/>
                  </a:srgbClr>
                </a:solidFill>
              </a:rPr>
              <a:t>Haniffa</a:t>
            </a:r>
            <a:r>
              <a:rPr lang="en-US" sz="600" dirty="0">
                <a:ln/>
                <a:solidFill>
                  <a:srgbClr val="3471B8">
                    <a:lumMod val="50000"/>
                  </a:srgbClr>
                </a:solidFill>
              </a:rPr>
              <a:t>, M., &amp; Kaplan, D. H. (2017). Antigen-presenting cells in the skin. Annual Review of Immunology, 35, 469–499.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600" b="0" i="0" u="none" strike="noStrike" kern="1200" cap="none" spc="0" normalizeH="0" baseline="0" noProof="0" dirty="0">
                <a:ln/>
                <a:solidFill>
                  <a:srgbClr val="3471B8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3.</a:t>
            </a:r>
            <a:r>
              <a:rPr lang="en-US" sz="6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600" dirty="0">
                <a:ln/>
                <a:solidFill>
                  <a:srgbClr val="3471B8">
                    <a:lumMod val="50000"/>
                  </a:srgbClr>
                </a:solidFill>
              </a:rPr>
              <a:t>Lind, A., et al. (2012). Intradermal vaccination of HIV-infected patients with short HIV Gag p24-like peptides induces CD4⁺ and CD8⁺ T cell responses lasting more than seven years. Scandinavian Journal of Infectious Diseases, 44(8), 566–572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ln/>
                <a:solidFill>
                  <a:srgbClr val="3471B8">
                    <a:lumMod val="50000"/>
                  </a:srgbClr>
                </a:solidFill>
              </a:rPr>
              <a:t>4. Hernandez-Franco, et al. (2023). Intradermal Vaccination against Influenza with a STING-Targeted Nanoparticle Combination Adjuvant Induces Superior Cross-Protective Humoral Immunity in Swine Compared with Intranasal and Intramuscular Immunization. Vaccines, 11, 1-17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776850-F1E8-4118-C580-B6E696CD87FB}"/>
              </a:ext>
            </a:extLst>
          </p:cNvPr>
          <p:cNvSpPr/>
          <p:nvPr/>
        </p:nvSpPr>
        <p:spPr>
          <a:xfrm>
            <a:off x="0" y="4572000"/>
            <a:ext cx="4991100" cy="1638300"/>
          </a:xfrm>
          <a:prstGeom prst="roundRect">
            <a:avLst/>
          </a:prstGeom>
          <a:solidFill>
            <a:srgbClr val="4A885B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26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34AADC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/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nefits compared to IM delivery </a:t>
            </a:r>
            <a:r>
              <a:rPr kumimoji="0" lang="en-US" sz="1600" i="0" u="none" strike="noStrike" kern="1200" cap="none" spc="0" normalizeH="0" baseline="30000" noProof="0" dirty="0">
                <a:ln/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</a:t>
            </a:r>
          </a:p>
          <a:p>
            <a:pPr marL="460237" marR="0" lvl="1" indent="-285664" algn="l" defTabSz="457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/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onger duration of the antibody response</a:t>
            </a:r>
          </a:p>
          <a:p>
            <a:pPr marL="460237" marR="0" lvl="1" indent="-285664" algn="l" defTabSz="457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/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ucosal Immunity</a:t>
            </a:r>
          </a:p>
          <a:p>
            <a:pPr marL="460237" marR="0" lvl="1" indent="-285664" algn="l" defTabSz="457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/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ross-reactive antibody and T cell responses</a:t>
            </a:r>
          </a:p>
        </p:txBody>
      </p:sp>
    </p:spTree>
    <p:extLst>
      <p:ext uri="{BB962C8B-B14F-4D97-AF65-F5344CB8AC3E}">
        <p14:creationId xmlns:p14="http://schemas.microsoft.com/office/powerpoint/2010/main" val="3281388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34CC7-5A52-1C8F-2667-63F7FEF45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47349D5-17A4-ABA2-292B-382C90723282}"/>
              </a:ext>
            </a:extLst>
          </p:cNvPr>
          <p:cNvSpPr/>
          <p:nvPr/>
        </p:nvSpPr>
        <p:spPr>
          <a:xfrm>
            <a:off x="5988822" y="1595381"/>
            <a:ext cx="522287" cy="450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C10AF3D-F34B-319A-702A-1AF3D26C9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643" y="0"/>
            <a:ext cx="11796713" cy="1025859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/>
              <a:t>Tropis ID Delivery of a Therapeutic HPV Vaccine (pBI-11) Enhanced CD8⁺ T Cell Response in Preclinical Model</a:t>
            </a:r>
            <a:endParaRPr lang="en-US" sz="2800" b="1" dirty="0">
              <a:solidFill>
                <a:schemeClr val="tx2">
                  <a:lumMod val="50000"/>
                  <a:lumOff val="50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7103" name="Slide Number Placeholder 3">
            <a:extLst>
              <a:ext uri="{FF2B5EF4-FFF2-40B4-BE49-F238E27FC236}">
                <a16:creationId xmlns:a16="http://schemas.microsoft.com/office/drawing/2014/main" id="{F7500B35-E35A-34BD-C518-56C2200B33E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D06B03-D625-485D-80DB-5E38D2FEAAF0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A44E8E-270C-2E30-3973-4304046533CB}"/>
              </a:ext>
            </a:extLst>
          </p:cNvPr>
          <p:cNvSpPr txBox="1"/>
          <p:nvPr/>
        </p:nvSpPr>
        <p:spPr>
          <a:xfrm>
            <a:off x="0" y="6625171"/>
            <a:ext cx="10164619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Aft>
                <a:spcPts val="2400"/>
              </a:spcAft>
              <a:defRPr/>
            </a:pP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Peng, S., et al. (2023). </a:t>
            </a:r>
            <a:r>
              <a:rPr lang="en-US" sz="600" dirty="0"/>
              <a:t>Immune responses, therapeutic anti-tumor effects, and tolerability upon therapeutic HPV16/18 E6/E7 DNA vaccination via needle-free biojector.</a:t>
            </a:r>
            <a:r>
              <a:rPr lang="en-US" sz="600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mBio</a:t>
            </a: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,</a:t>
            </a:r>
            <a:r>
              <a:rPr lang="en-US" sz="600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14</a:t>
            </a: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(5), 1-19</a:t>
            </a:r>
            <a:r>
              <a:rPr lang="en-US" sz="7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. 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678CC8">
                  <a:lumMod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BD4FB1-AFF6-CA0A-041F-385404E36D8A}"/>
              </a:ext>
            </a:extLst>
          </p:cNvPr>
          <p:cNvGrpSpPr/>
          <p:nvPr/>
        </p:nvGrpSpPr>
        <p:grpSpPr>
          <a:xfrm>
            <a:off x="5049189" y="1558785"/>
            <a:ext cx="4654853" cy="4492731"/>
            <a:chOff x="6980790" y="2425349"/>
            <a:chExt cx="3929061" cy="3931001"/>
          </a:xfrm>
        </p:grpSpPr>
        <p:pic>
          <p:nvPicPr>
            <p:cNvPr id="217100" name="Picture 8">
              <a:extLst>
                <a:ext uri="{FF2B5EF4-FFF2-40B4-BE49-F238E27FC236}">
                  <a16:creationId xmlns:a16="http://schemas.microsoft.com/office/drawing/2014/main" id="{AD1FA303-46D4-0859-EAA8-156D942E17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0790" y="2425349"/>
              <a:ext cx="3929061" cy="393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173801-FD28-E79F-67BE-64002951D688}"/>
                </a:ext>
              </a:extLst>
            </p:cNvPr>
            <p:cNvSpPr/>
            <p:nvPr/>
          </p:nvSpPr>
          <p:spPr>
            <a:xfrm>
              <a:off x="6980790" y="2425349"/>
              <a:ext cx="580472" cy="4826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F45476B1-D841-5AAF-B245-B24BCEFBBD09}"/>
              </a:ext>
            </a:extLst>
          </p:cNvPr>
          <p:cNvSpPr txBox="1"/>
          <p:nvPr/>
        </p:nvSpPr>
        <p:spPr>
          <a:xfrm>
            <a:off x="374166" y="1820806"/>
            <a:ext cx="4843445" cy="42934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tudy Summary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228600" marR="0" lvl="0" indent="-138113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ice were challenge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with TC-1 tumor cells (Day 0) and vaccinated on 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Days 3, 6, and 10 via different delivery methods</a:t>
            </a:r>
          </a:p>
          <a:p>
            <a:pPr marL="228600" marR="0" lvl="0" indent="-138113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BMCs collected on Day 17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o assess E7-specific CD8⁺ T cell responses</a:t>
            </a:r>
          </a:p>
          <a:p>
            <a:pPr marL="228600" marR="0" lvl="0" indent="-138113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easured Outcome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% of HPV16 E7⁺ CD8⁺ T cel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9144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Key Finding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ropis intradermal delivery showed the highes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D8⁺ T cell response 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Needle-free methods (ID and IM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outperformed traditional needle injec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Needle-free ID deliver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provided the most potent immunogenic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5D487C-52DA-F64F-687A-5EC84901B6C7}"/>
              </a:ext>
            </a:extLst>
          </p:cNvPr>
          <p:cNvSpPr txBox="1"/>
          <p:nvPr/>
        </p:nvSpPr>
        <p:spPr>
          <a:xfrm>
            <a:off x="5082309" y="1279291"/>
            <a:ext cx="4991039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creased CD8+ T Cel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930461-D353-704C-F096-3046A8F44D86}"/>
              </a:ext>
            </a:extLst>
          </p:cNvPr>
          <p:cNvSpPr txBox="1"/>
          <p:nvPr/>
        </p:nvSpPr>
        <p:spPr>
          <a:xfrm>
            <a:off x="9704042" y="4074456"/>
            <a:ext cx="2249832" cy="13234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Needle-free ID delivery </a:t>
            </a:r>
            <a:r>
              <a:rPr lang="en-US" sz="1600" dirty="0">
                <a:solidFill>
                  <a:prstClr val="black"/>
                </a:solidFill>
                <a:latin typeface="Segoe UI" panose="020B0502040204020203" pitchFamily="34" charset="0"/>
              </a:rPr>
              <a:t>with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Tropis resulted in the strongest CD8⁺ T cell response (6.45%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C114792-9691-E395-5E85-D5FDDC5B698A}"/>
              </a:ext>
            </a:extLst>
          </p:cNvPr>
          <p:cNvCxnSpPr/>
          <p:nvPr/>
        </p:nvCxnSpPr>
        <p:spPr>
          <a:xfrm>
            <a:off x="2683042" y="5931569"/>
            <a:ext cx="0" cy="32485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94A58B-A655-918B-1707-CC0A6AC7D4F0}"/>
              </a:ext>
            </a:extLst>
          </p:cNvPr>
          <p:cNvCxnSpPr/>
          <p:nvPr/>
        </p:nvCxnSpPr>
        <p:spPr>
          <a:xfrm>
            <a:off x="2683042" y="6256422"/>
            <a:ext cx="804304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31E4712-F37E-300C-8565-22EC3DD0EB98}"/>
              </a:ext>
            </a:extLst>
          </p:cNvPr>
          <p:cNvCxnSpPr/>
          <p:nvPr/>
        </p:nvCxnSpPr>
        <p:spPr>
          <a:xfrm flipV="1">
            <a:off x="10726090" y="5522495"/>
            <a:ext cx="0" cy="721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438937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2D896-1593-C379-9F5A-D45B7266AC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CE2D2BB-D5D1-2D15-2FBA-2611D5B50099}"/>
              </a:ext>
            </a:extLst>
          </p:cNvPr>
          <p:cNvSpPr/>
          <p:nvPr/>
        </p:nvSpPr>
        <p:spPr>
          <a:xfrm>
            <a:off x="5726627" y="1114900"/>
            <a:ext cx="522287" cy="450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FA356F-F680-0E2C-95B1-DC36E12E2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643" y="174608"/>
            <a:ext cx="11796713" cy="91536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br>
              <a:rPr lang="en-US" sz="2000" dirty="0">
                <a:latin typeface="+mn-lt"/>
              </a:rPr>
            </a:br>
            <a:r>
              <a:rPr lang="en-US" sz="3200" b="1" dirty="0"/>
              <a:t>Tropis ID Delivery of a Therapeutic HPV Vaccine </a:t>
            </a:r>
            <a:r>
              <a:rPr lang="en-US" sz="2800" b="1" dirty="0"/>
              <a:t>(pBI-11) </a:t>
            </a:r>
            <a:r>
              <a:rPr lang="en-US" sz="3100" b="1" dirty="0">
                <a:latin typeface="Poppins" panose="00000500000000000000" pitchFamily="2" charset="0"/>
                <a:cs typeface="Poppins" panose="00000500000000000000" pitchFamily="2" charset="0"/>
              </a:rPr>
              <a:t>Slowed Tumor Growth and Improves Survival</a:t>
            </a:r>
            <a:br>
              <a:rPr lang="en-US" sz="2000" dirty="0">
                <a:latin typeface="+mn-lt"/>
              </a:rPr>
            </a:br>
            <a:br>
              <a:rPr lang="en-US" sz="2000" dirty="0"/>
            </a:br>
            <a:endParaRPr lang="en-US" sz="2000" dirty="0">
              <a:solidFill>
                <a:schemeClr val="tx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17103" name="Slide Number Placeholder 3">
            <a:extLst>
              <a:ext uri="{FF2B5EF4-FFF2-40B4-BE49-F238E27FC236}">
                <a16:creationId xmlns:a16="http://schemas.microsoft.com/office/drawing/2014/main" id="{491A07F5-701F-B85A-1A7E-E8BA172708D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D06B03-D625-485D-80DB-5E38D2FEAAF0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79AD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C55D80-1FC4-DD5C-7493-16EC9A8F9126}"/>
              </a:ext>
            </a:extLst>
          </p:cNvPr>
          <p:cNvSpPr/>
          <p:nvPr/>
        </p:nvSpPr>
        <p:spPr>
          <a:xfrm>
            <a:off x="402133" y="1668227"/>
            <a:ext cx="522288" cy="450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2C1F15-41E2-BCCF-0621-0469FB65D806}"/>
              </a:ext>
            </a:extLst>
          </p:cNvPr>
          <p:cNvSpPr/>
          <p:nvPr/>
        </p:nvSpPr>
        <p:spPr>
          <a:xfrm>
            <a:off x="6495181" y="1442147"/>
            <a:ext cx="522288" cy="450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7D6611B-7F96-C1B7-1D97-447F1D41D879}"/>
              </a:ext>
            </a:extLst>
          </p:cNvPr>
          <p:cNvSpPr/>
          <p:nvPr/>
        </p:nvSpPr>
        <p:spPr>
          <a:xfrm>
            <a:off x="525592" y="1906817"/>
            <a:ext cx="303745" cy="379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87137C-FA20-0CD8-64D0-C284F90DC8C9}"/>
              </a:ext>
            </a:extLst>
          </p:cNvPr>
          <p:cNvSpPr/>
          <p:nvPr/>
        </p:nvSpPr>
        <p:spPr>
          <a:xfrm>
            <a:off x="677992" y="2172231"/>
            <a:ext cx="303745" cy="379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A5BF4FA-F2DB-62E3-EF79-7584506D0951}"/>
              </a:ext>
            </a:extLst>
          </p:cNvPr>
          <p:cNvSpPr/>
          <p:nvPr/>
        </p:nvSpPr>
        <p:spPr>
          <a:xfrm>
            <a:off x="6127213" y="2037534"/>
            <a:ext cx="303745" cy="450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03189C-76E9-7730-F2EA-9571BF99C57F}"/>
              </a:ext>
            </a:extLst>
          </p:cNvPr>
          <p:cNvSpPr/>
          <p:nvPr/>
        </p:nvSpPr>
        <p:spPr>
          <a:xfrm>
            <a:off x="4400452" y="2720277"/>
            <a:ext cx="522288" cy="26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2059450-C989-7F5E-4B97-7AC608CC5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6836" y="2284243"/>
            <a:ext cx="1695687" cy="7335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84AAF1-3EB1-35FF-04DB-08198C7F1CA6}"/>
              </a:ext>
            </a:extLst>
          </p:cNvPr>
          <p:cNvSpPr txBox="1"/>
          <p:nvPr/>
        </p:nvSpPr>
        <p:spPr>
          <a:xfrm>
            <a:off x="0" y="6640560"/>
            <a:ext cx="10164619" cy="18466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Aft>
                <a:spcPts val="2400"/>
              </a:spcAft>
              <a:defRPr/>
            </a:pP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Peng, S., et al. (2023). </a:t>
            </a:r>
            <a:r>
              <a:rPr lang="en-US" sz="600" dirty="0"/>
              <a:t>Immune responses, therapeutic anti-tumor effects, and tolerability upon therapeutic HPV16/18 E6/E7 DNA vaccination via needle-free biojector.</a:t>
            </a:r>
            <a:r>
              <a:rPr lang="en-US" sz="600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mBio</a:t>
            </a: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,</a:t>
            </a:r>
            <a:r>
              <a:rPr lang="en-US" sz="600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14</a:t>
            </a: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(5), 1-19. 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678CC8">
                  <a:lumMod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5F02BB-17C5-2DF6-20D2-5A29FA3E2634}"/>
              </a:ext>
            </a:extLst>
          </p:cNvPr>
          <p:cNvSpPr txBox="1"/>
          <p:nvPr/>
        </p:nvSpPr>
        <p:spPr>
          <a:xfrm>
            <a:off x="829337" y="1364917"/>
            <a:ext cx="106538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Preclinical study in mice challenged </a:t>
            </a:r>
            <a:r>
              <a:rPr lang="en-US" i="1" dirty="0"/>
              <a:t>with TC-1 tumor cells and treated with pBI-11 DNA vaccin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7A187F-0166-E2AD-0059-5F480E64DD8C}"/>
              </a:ext>
            </a:extLst>
          </p:cNvPr>
          <p:cNvSpPr txBox="1"/>
          <p:nvPr/>
        </p:nvSpPr>
        <p:spPr>
          <a:xfrm>
            <a:off x="599554" y="5424861"/>
            <a:ext cx="4323186" cy="830997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ID needle-free delivery significantly </a:t>
            </a:r>
            <a:r>
              <a:rPr lang="en-US" sz="1600" b="1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slowed tumor growth </a:t>
            </a:r>
            <a:r>
              <a:rPr lang="en-US" sz="1600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compared to untreated and intramuscular needle grou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C01F7D-14AB-32D5-DBFB-42D7705ECBAC}"/>
              </a:ext>
            </a:extLst>
          </p:cNvPr>
          <p:cNvSpPr txBox="1"/>
          <p:nvPr/>
        </p:nvSpPr>
        <p:spPr>
          <a:xfrm>
            <a:off x="6623824" y="5424861"/>
            <a:ext cx="4516099" cy="830997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ID needle-free delivery significantly </a:t>
            </a:r>
            <a:r>
              <a:rPr lang="en-US" sz="1600" b="1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improved survival </a:t>
            </a:r>
            <a:r>
              <a:rPr lang="en-US" sz="1600" dirty="0">
                <a:solidFill>
                  <a:srgbClr val="041827">
                    <a:lumMod val="90000"/>
                    <a:lumOff val="10000"/>
                  </a:srgbClr>
                </a:solidFill>
                <a:latin typeface="Segoe UI" panose="020B0502040204020203" pitchFamily="34" charset="0"/>
              </a:rPr>
              <a:t>compared to untreated and intramuscular needle groups</a:t>
            </a:r>
            <a:endParaRPr lang="en-US" sz="1600" b="1" dirty="0">
              <a:solidFill>
                <a:srgbClr val="041827">
                  <a:lumMod val="90000"/>
                  <a:lumOff val="1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24DD1506-4644-BBF7-692C-F00CD49A7678}"/>
              </a:ext>
            </a:extLst>
          </p:cNvPr>
          <p:cNvSpPr/>
          <p:nvPr/>
        </p:nvSpPr>
        <p:spPr>
          <a:xfrm>
            <a:off x="1262109" y="1881247"/>
            <a:ext cx="688791" cy="708838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7D88D5-0C02-50B2-4965-975C8FDEAB0A}"/>
              </a:ext>
            </a:extLst>
          </p:cNvPr>
          <p:cNvSpPr/>
          <p:nvPr/>
        </p:nvSpPr>
        <p:spPr>
          <a:xfrm>
            <a:off x="3456836" y="2189499"/>
            <a:ext cx="1887233" cy="9696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A8A524-FDFB-CDB0-C1BF-01CA505DFB72}"/>
              </a:ext>
            </a:extLst>
          </p:cNvPr>
          <p:cNvSpPr/>
          <p:nvPr/>
        </p:nvSpPr>
        <p:spPr>
          <a:xfrm>
            <a:off x="9300875" y="2137857"/>
            <a:ext cx="1887233" cy="9696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36B342CD-B0A4-AEA9-D89A-97BE749E117A}"/>
              </a:ext>
            </a:extLst>
          </p:cNvPr>
          <p:cNvSpPr/>
          <p:nvPr/>
        </p:nvSpPr>
        <p:spPr>
          <a:xfrm>
            <a:off x="2326865" y="2146024"/>
            <a:ext cx="688791" cy="708838"/>
          </a:xfrm>
          <a:prstGeom prst="round2Diag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AE79FC-D32D-78EC-E101-7429A314F6BB}"/>
              </a:ext>
            </a:extLst>
          </p:cNvPr>
          <p:cNvSpPr/>
          <p:nvPr/>
        </p:nvSpPr>
        <p:spPr>
          <a:xfrm flipV="1">
            <a:off x="8665239" y="3058604"/>
            <a:ext cx="259671" cy="1005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4D558C9-1247-E5F5-8A62-E6443127F079}"/>
              </a:ext>
            </a:extLst>
          </p:cNvPr>
          <p:cNvSpPr/>
          <p:nvPr/>
        </p:nvSpPr>
        <p:spPr>
          <a:xfrm>
            <a:off x="10017273" y="3312640"/>
            <a:ext cx="177320" cy="896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DF94191-2503-292A-85CD-3C0813AD63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8090" y="4966522"/>
            <a:ext cx="7336529" cy="24253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50CEEC29-2570-96CD-F7AB-4C8A52D0C737}"/>
              </a:ext>
            </a:extLst>
          </p:cNvPr>
          <p:cNvSpPr/>
          <p:nvPr/>
        </p:nvSpPr>
        <p:spPr>
          <a:xfrm>
            <a:off x="6623824" y="2361882"/>
            <a:ext cx="780586" cy="6275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ECD7BCB-5DB3-FC1E-A245-AC03564053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904" y="1869707"/>
            <a:ext cx="11534189" cy="297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190895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BADC55-A025-4F33-E57C-B55D8812F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93BC85FD-ED7B-AE58-CDD6-932600C5AE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232" y="2918322"/>
            <a:ext cx="338556" cy="213214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37D949E-FF8D-2A37-BFC7-AB82637BE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54" y="18256"/>
            <a:ext cx="12063046" cy="1098570"/>
          </a:xfrm>
        </p:spPr>
        <p:txBody>
          <a:bodyPr>
            <a:normAutofit/>
          </a:bodyPr>
          <a:lstStyle/>
          <a:p>
            <a:r>
              <a:rPr lang="en-US" sz="2800" b="1" dirty="0"/>
              <a:t>Stratis IM delivery of HPV DNA vaccine (VB10.16) resulted in a 94% reduction in lesion size in CIN2/3 patie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CE04D6-9990-1590-5FB5-F682AED32536}"/>
              </a:ext>
            </a:extLst>
          </p:cNvPr>
          <p:cNvSpPr/>
          <p:nvPr/>
        </p:nvSpPr>
        <p:spPr>
          <a:xfrm>
            <a:off x="10324214" y="2194265"/>
            <a:ext cx="1312966" cy="15058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0B154E3-B476-5F16-7994-5F76C3C83121}"/>
              </a:ext>
            </a:extLst>
          </p:cNvPr>
          <p:cNvSpPr/>
          <p:nvPr/>
        </p:nvSpPr>
        <p:spPr>
          <a:xfrm>
            <a:off x="5007935" y="2194265"/>
            <a:ext cx="1261730" cy="15058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4AD6629-062A-16E4-161E-5EE1A2806A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7608" y="2158057"/>
            <a:ext cx="5404013" cy="3296907"/>
          </a:xfrm>
          <a:prstGeom prst="rect">
            <a:avLst/>
          </a:prstGeom>
          <a:solidFill>
            <a:srgbClr val="002060"/>
          </a:solidFill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A5E7E64-4B47-45BA-F95E-B4D0C7096C3E}"/>
              </a:ext>
            </a:extLst>
          </p:cNvPr>
          <p:cNvSpPr/>
          <p:nvPr/>
        </p:nvSpPr>
        <p:spPr>
          <a:xfrm>
            <a:off x="5024201" y="2189207"/>
            <a:ext cx="1300701" cy="16714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52C3A0-5F39-ACFA-730F-87DF9C4EB8C2}"/>
              </a:ext>
            </a:extLst>
          </p:cNvPr>
          <p:cNvSpPr/>
          <p:nvPr/>
        </p:nvSpPr>
        <p:spPr>
          <a:xfrm>
            <a:off x="2693705" y="2029460"/>
            <a:ext cx="1426380" cy="1399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935592E-E5F1-8F19-98B9-C37455C863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5219" y="2961064"/>
            <a:ext cx="1071748" cy="69256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AAE17A4-3B5E-D354-8551-EB579D90F7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 l="4092"/>
          <a:stretch/>
        </p:blipFill>
        <p:spPr>
          <a:xfrm>
            <a:off x="6985612" y="2128115"/>
            <a:ext cx="4144275" cy="3296906"/>
          </a:xfrm>
          <a:prstGeom prst="rect">
            <a:avLst/>
          </a:prstGeom>
          <a:ln>
            <a:solidFill>
              <a:schemeClr val="accent2">
                <a:lumMod val="90000"/>
                <a:lumOff val="10000"/>
              </a:schemeClr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ADB1612-B73B-8096-9E45-0C95AFA102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75779" y="2860310"/>
            <a:ext cx="1663466" cy="514422"/>
          </a:xfrm>
          <a:prstGeom prst="rect">
            <a:avLst/>
          </a:prstGeom>
          <a:ln w="28575">
            <a:solidFill>
              <a:schemeClr val="accent2">
                <a:lumMod val="90000"/>
                <a:lumOff val="10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93C1A5A-498B-3CC7-BE58-16F5D319D648}"/>
              </a:ext>
            </a:extLst>
          </p:cNvPr>
          <p:cNvSpPr txBox="1"/>
          <p:nvPr/>
        </p:nvSpPr>
        <p:spPr>
          <a:xfrm>
            <a:off x="8265697" y="5443434"/>
            <a:ext cx="10419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Lesion Size Regress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EF3FCF-D3BD-AA3C-64CE-EB9635B7220D}"/>
              </a:ext>
            </a:extLst>
          </p:cNvPr>
          <p:cNvSpPr txBox="1"/>
          <p:nvPr/>
        </p:nvSpPr>
        <p:spPr>
          <a:xfrm>
            <a:off x="9485993" y="5433393"/>
            <a:ext cx="11873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No Lesion Size Regres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6D833D-2143-CC8E-37EB-5E96B2BB39E8}"/>
              </a:ext>
            </a:extLst>
          </p:cNvPr>
          <p:cNvSpPr txBox="1"/>
          <p:nvPr/>
        </p:nvSpPr>
        <p:spPr>
          <a:xfrm>
            <a:off x="1467462" y="5850435"/>
            <a:ext cx="4476126" cy="646331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94% (16/17) of patients wi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ny measurable reduction in cervical lesion siz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regardless of CIN grade post treatm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EF01DEC-8C06-F191-6289-A2DAA06DF54F}"/>
              </a:ext>
            </a:extLst>
          </p:cNvPr>
          <p:cNvSpPr txBox="1"/>
          <p:nvPr/>
        </p:nvSpPr>
        <p:spPr>
          <a:xfrm>
            <a:off x="7984783" y="5867304"/>
            <a:ext cx="2830592" cy="646331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Significantly higher HPV-specific T cell respons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observed in the treatment grou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39B1726-A234-141B-BC66-28EE28133B5C}"/>
              </a:ext>
            </a:extLst>
          </p:cNvPr>
          <p:cNvSpPr txBox="1"/>
          <p:nvPr/>
        </p:nvSpPr>
        <p:spPr>
          <a:xfrm>
            <a:off x="2345327" y="5443434"/>
            <a:ext cx="27203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Individual Patients</a:t>
            </a:r>
          </a:p>
        </p:txBody>
      </p:sp>
      <p:pic>
        <p:nvPicPr>
          <p:cNvPr id="27" name="Picture 18">
            <a:extLst>
              <a:ext uri="{FF2B5EF4-FFF2-40B4-BE49-F238E27FC236}">
                <a16:creationId xmlns:a16="http://schemas.microsoft.com/office/drawing/2014/main" id="{1381349A-DE52-7B38-6E2B-2DF3648D3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72881"/>
            <a:ext cx="2228787" cy="286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D0C607C-BDEF-9F4A-064C-B4CA4A0B774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20083" y="2294673"/>
            <a:ext cx="1429208" cy="120598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4DCF2E8C-CE37-A86E-53C3-F138B3EC8CC9}"/>
              </a:ext>
            </a:extLst>
          </p:cNvPr>
          <p:cNvSpPr/>
          <p:nvPr/>
        </p:nvSpPr>
        <p:spPr>
          <a:xfrm>
            <a:off x="937607" y="2129909"/>
            <a:ext cx="5404013" cy="3296907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254B1BD-CD17-6D0A-BEA3-4E0399590D2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68964" y="3700129"/>
            <a:ext cx="1261729" cy="18007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CF8CD2C-148C-72F1-DFCA-1B33488E96C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99394" y="3874292"/>
            <a:ext cx="2076094" cy="27626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12CDCC7-BB70-43E7-87DB-AD0C31B46307}"/>
              </a:ext>
            </a:extLst>
          </p:cNvPr>
          <p:cNvSpPr txBox="1"/>
          <p:nvPr/>
        </p:nvSpPr>
        <p:spPr>
          <a:xfrm rot="16200000">
            <a:off x="-134444" y="3843147"/>
            <a:ext cx="2576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% Change Lesion Size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F3305712-C73B-1C6F-71E0-A11BEC726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3704" y="2161259"/>
            <a:ext cx="1841968" cy="132786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FD575F3-CABA-3B09-5CB1-15EBB15619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3382" y="3700130"/>
            <a:ext cx="1371307" cy="1951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A7B9755-D0CC-5BDB-21E8-5132EFB54B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3670" y="6645525"/>
            <a:ext cx="11344940" cy="18466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24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Hillemanns, P., et al. (2022). </a:t>
            </a:r>
            <a:r>
              <a:rPr lang="en-US" sz="600" dirty="0"/>
              <a:t>A therapeutic antigen-presenting cell-targeting DNA vaccine VB10.16 in HPV16-positive high-grade cervical intraepithelial neoplasia: Results from a Phase I/</a:t>
            </a:r>
            <a:r>
              <a:rPr lang="en-US" sz="600" dirty="0" err="1"/>
              <a:t>IIa</a:t>
            </a:r>
            <a:r>
              <a:rPr lang="en-US" sz="600" dirty="0"/>
              <a:t> trial. </a:t>
            </a:r>
            <a:r>
              <a:rPr lang="en-US" sz="600" i="1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Clinical Cancer Research, 28</a:t>
            </a:r>
            <a:r>
              <a:rPr lang="en-US" sz="600" dirty="0">
                <a:effectLst/>
                <a:ea typeface="Aptos" panose="020B0004020202020204" pitchFamily="34" charset="0"/>
                <a:cs typeface="Arial" panose="020B0604020202020204" pitchFamily="34" charset="0"/>
              </a:rPr>
              <a:t>(22), 4885-4892. </a:t>
            </a:r>
            <a:endParaRPr lang="en-US" sz="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B3C009-686F-9F2C-1CF9-EA85AEDD4685}"/>
              </a:ext>
            </a:extLst>
          </p:cNvPr>
          <p:cNvSpPr txBox="1"/>
          <p:nvPr/>
        </p:nvSpPr>
        <p:spPr>
          <a:xfrm>
            <a:off x="1878041" y="1623552"/>
            <a:ext cx="3523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/>
              <a:t>Change in Cervical Lesion Size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/>
              <a:t>from Baseline (N=17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8053CA-93B8-E849-0951-954E7D6C873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6200000">
            <a:off x="6319642" y="3584293"/>
            <a:ext cx="1640951" cy="3090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BB5FBF-5205-796B-71DC-11378EE2938E}"/>
              </a:ext>
            </a:extLst>
          </p:cNvPr>
          <p:cNvSpPr txBox="1"/>
          <p:nvPr/>
        </p:nvSpPr>
        <p:spPr>
          <a:xfrm rot="16200000">
            <a:off x="5797130" y="3638068"/>
            <a:ext cx="28430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HPV-specific T cells (SFU/10⁶ PBMC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7502514-7601-DA49-FB24-475ACF2E337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16200000">
            <a:off x="69840" y="3797265"/>
            <a:ext cx="2193597" cy="31281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B5CEBB9-9420-1241-40E0-80C4C107056E}"/>
              </a:ext>
            </a:extLst>
          </p:cNvPr>
          <p:cNvSpPr txBox="1"/>
          <p:nvPr/>
        </p:nvSpPr>
        <p:spPr>
          <a:xfrm rot="16200000">
            <a:off x="-426455" y="3594435"/>
            <a:ext cx="30874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% Change in Lesion Size from Baselin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046A78-7C1E-A7AE-0C45-D739A45678DE}"/>
              </a:ext>
            </a:extLst>
          </p:cNvPr>
          <p:cNvSpPr txBox="1"/>
          <p:nvPr/>
        </p:nvSpPr>
        <p:spPr>
          <a:xfrm>
            <a:off x="907734" y="2133992"/>
            <a:ext cx="203259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dapted from Hillemanns, et al. (2022)</a:t>
            </a:r>
            <a:endParaRPr lang="en-US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26F13B0-3C9E-8EBC-3530-924B6EAF664A}"/>
              </a:ext>
            </a:extLst>
          </p:cNvPr>
          <p:cNvSpPr txBox="1"/>
          <p:nvPr/>
        </p:nvSpPr>
        <p:spPr>
          <a:xfrm>
            <a:off x="4967953" y="2189547"/>
            <a:ext cx="1453426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IN = Cervical Intraepithelial Neoplasia and final pathology (CIN grade)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fter treatment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F04683-D991-31A5-6FF8-A772F993B770}"/>
              </a:ext>
            </a:extLst>
          </p:cNvPr>
          <p:cNvSpPr txBox="1"/>
          <p:nvPr/>
        </p:nvSpPr>
        <p:spPr>
          <a:xfrm>
            <a:off x="2587617" y="2669665"/>
            <a:ext cx="1902919" cy="830997"/>
          </a:xfrm>
          <a:prstGeom prst="rect">
            <a:avLst/>
          </a:prstGeom>
          <a:noFill/>
          <a:ln>
            <a:solidFill>
              <a:schemeClr val="accent2">
                <a:lumMod val="90000"/>
                <a:lumOff val="1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41827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16/17 patients showed reduction in lesion size (color-coded by residual CIN grade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519ABB3-12A8-8BBB-2411-D3FC8C809654}"/>
              </a:ext>
            </a:extLst>
          </p:cNvPr>
          <p:cNvSpPr txBox="1"/>
          <p:nvPr/>
        </p:nvSpPr>
        <p:spPr>
          <a:xfrm>
            <a:off x="9278679" y="2115285"/>
            <a:ext cx="203259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Adapted from Hillemanns, et al. (2022)</a:t>
            </a:r>
            <a:endParaRPr lang="en-US" i="1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B487B88-D6D0-D722-6F8C-85C1CCA957B4}"/>
              </a:ext>
            </a:extLst>
          </p:cNvPr>
          <p:cNvSpPr txBox="1"/>
          <p:nvPr/>
        </p:nvSpPr>
        <p:spPr>
          <a:xfrm>
            <a:off x="6958610" y="1614272"/>
            <a:ext cx="43256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HPV16-Specific T Cell Responses b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Lesion Size Outcom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41827">
                  <a:lumMod val="90000"/>
                  <a:lumOff val="1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66768E3-8232-72F5-4C89-9C4275661244}"/>
              </a:ext>
            </a:extLst>
          </p:cNvPr>
          <p:cNvSpPr txBox="1"/>
          <p:nvPr/>
        </p:nvSpPr>
        <p:spPr>
          <a:xfrm>
            <a:off x="11614878" y="6409126"/>
            <a:ext cx="4699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E49BF1B4-F7BE-4CE7-AA66-F475A0431040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79ADD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/>
              <a:t>9</a:t>
            </a:fld>
            <a:endParaRPr lang="en-US" sz="11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552157D-3228-245D-5C61-4490D482C750}"/>
              </a:ext>
            </a:extLst>
          </p:cNvPr>
          <p:cNvCxnSpPr>
            <a:cxnSpLocks/>
          </p:cNvCxnSpPr>
          <p:nvPr/>
        </p:nvCxnSpPr>
        <p:spPr>
          <a:xfrm>
            <a:off x="1743179" y="2596251"/>
            <a:ext cx="0" cy="2642499"/>
          </a:xfrm>
          <a:prstGeom prst="line">
            <a:avLst/>
          </a:prstGeom>
          <a:ln w="28575"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>
            <a:extLst>
              <a:ext uri="{FF2B5EF4-FFF2-40B4-BE49-F238E27FC236}">
                <a16:creationId xmlns:a16="http://schemas.microsoft.com/office/drawing/2014/main" id="{935323D2-E93D-35C5-0D6D-61459D5137E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619336" y="5232769"/>
            <a:ext cx="247685" cy="2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948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02_2023 PharmaJet PPT Theme">
  <a:themeElements>
    <a:clrScheme name="PharmaJet PowerPoint Template 2022">
      <a:dk1>
        <a:sysClr val="windowText" lastClr="000000"/>
      </a:dk1>
      <a:lt1>
        <a:sysClr val="window" lastClr="FFFFFF"/>
      </a:lt1>
      <a:dk2>
        <a:srgbClr val="003C4C"/>
      </a:dk2>
      <a:lt2>
        <a:srgbClr val="79ADD5"/>
      </a:lt2>
      <a:accent1>
        <a:srgbClr val="34AADC"/>
      </a:accent1>
      <a:accent2>
        <a:srgbClr val="041827"/>
      </a:accent2>
      <a:accent3>
        <a:srgbClr val="10578D"/>
      </a:accent3>
      <a:accent4>
        <a:srgbClr val="4497CF"/>
      </a:accent4>
      <a:accent5>
        <a:srgbClr val="3471B8"/>
      </a:accent5>
      <a:accent6>
        <a:srgbClr val="678CC8"/>
      </a:accent6>
      <a:hlink>
        <a:srgbClr val="34AADC"/>
      </a:hlink>
      <a:folHlink>
        <a:srgbClr val="6F7BEB"/>
      </a:folHlink>
    </a:clrScheme>
    <a:fontScheme name="Custom 4">
      <a:majorFont>
        <a:latin typeface="Poppins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2_02_2023 PharmaJet PPT Theme" id="{C6E3523B-D9C4-4A8A-ABDD-63BDB58CDED9}" vid="{BD380A94-397F-4CDE-97E9-1E76AD176BFA}"/>
    </a:ext>
  </a:extLst>
</a:theme>
</file>

<file path=ppt/theme/theme2.xml><?xml version="1.0" encoding="utf-8"?>
<a:theme xmlns:a="http://schemas.openxmlformats.org/drawingml/2006/main" name="4_02_2023 PharmaJet PPT Theme">
  <a:themeElements>
    <a:clrScheme name="PharmaJet PowerPoint Template 2022">
      <a:dk1>
        <a:sysClr val="windowText" lastClr="000000"/>
      </a:dk1>
      <a:lt1>
        <a:sysClr val="window" lastClr="FFFFFF"/>
      </a:lt1>
      <a:dk2>
        <a:srgbClr val="003C4C"/>
      </a:dk2>
      <a:lt2>
        <a:srgbClr val="79ADD5"/>
      </a:lt2>
      <a:accent1>
        <a:srgbClr val="34AADC"/>
      </a:accent1>
      <a:accent2>
        <a:srgbClr val="041827"/>
      </a:accent2>
      <a:accent3>
        <a:srgbClr val="10578D"/>
      </a:accent3>
      <a:accent4>
        <a:srgbClr val="4497CF"/>
      </a:accent4>
      <a:accent5>
        <a:srgbClr val="3471B8"/>
      </a:accent5>
      <a:accent6>
        <a:srgbClr val="678CC8"/>
      </a:accent6>
      <a:hlink>
        <a:srgbClr val="34AADC"/>
      </a:hlink>
      <a:folHlink>
        <a:srgbClr val="6F7BEB"/>
      </a:folHlink>
    </a:clrScheme>
    <a:fontScheme name="Custom 5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2_02_2023 PharmaJet PPT Theme" id="{C6E3523B-D9C4-4A8A-ABDD-63BDB58CDED9}" vid="{BD380A94-397F-4CDE-97E9-1E76AD176BF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09_12_22 PharmaJet PPT Theme">
  <a:themeElements>
    <a:clrScheme name="PharmaJet PowerPoint Template 2022">
      <a:dk1>
        <a:sysClr val="windowText" lastClr="000000"/>
      </a:dk1>
      <a:lt1>
        <a:sysClr val="window" lastClr="FFFFFF"/>
      </a:lt1>
      <a:dk2>
        <a:srgbClr val="003C4C"/>
      </a:dk2>
      <a:lt2>
        <a:srgbClr val="79ADD5"/>
      </a:lt2>
      <a:accent1>
        <a:srgbClr val="34AADC"/>
      </a:accent1>
      <a:accent2>
        <a:srgbClr val="041827"/>
      </a:accent2>
      <a:accent3>
        <a:srgbClr val="10578D"/>
      </a:accent3>
      <a:accent4>
        <a:srgbClr val="4497CF"/>
      </a:accent4>
      <a:accent5>
        <a:srgbClr val="3471B8"/>
      </a:accent5>
      <a:accent6>
        <a:srgbClr val="678CC8"/>
      </a:accent6>
      <a:hlink>
        <a:srgbClr val="34AADC"/>
      </a:hlink>
      <a:folHlink>
        <a:srgbClr val="6F7BEB"/>
      </a:folHlink>
    </a:clrScheme>
    <a:fontScheme name="Custom 3">
      <a:majorFont>
        <a:latin typeface="Franklin Gothic Dem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9_12_22 PharmaJet PPT Theme" id="{97A832B5-53B1-4961-B224-AE78055334B1}" vid="{24DEEC0C-7A88-4CA0-959C-85E08B084B74}"/>
    </a:ext>
  </a:extLst>
</a:theme>
</file>

<file path=ppt/theme/theme5.xml><?xml version="1.0" encoding="utf-8"?>
<a:theme xmlns:a="http://schemas.openxmlformats.org/drawingml/2006/main" name="02_02_2023 PharmaJet PPT Theme">
  <a:themeElements>
    <a:clrScheme name="PharmaJet PowerPoint Template 2022">
      <a:dk1>
        <a:sysClr val="windowText" lastClr="000000"/>
      </a:dk1>
      <a:lt1>
        <a:sysClr val="window" lastClr="FFFFFF"/>
      </a:lt1>
      <a:dk2>
        <a:srgbClr val="003C4C"/>
      </a:dk2>
      <a:lt2>
        <a:srgbClr val="79ADD5"/>
      </a:lt2>
      <a:accent1>
        <a:srgbClr val="34AADC"/>
      </a:accent1>
      <a:accent2>
        <a:srgbClr val="041827"/>
      </a:accent2>
      <a:accent3>
        <a:srgbClr val="10578D"/>
      </a:accent3>
      <a:accent4>
        <a:srgbClr val="4497CF"/>
      </a:accent4>
      <a:accent5>
        <a:srgbClr val="3471B8"/>
      </a:accent5>
      <a:accent6>
        <a:srgbClr val="678CC8"/>
      </a:accent6>
      <a:hlink>
        <a:srgbClr val="34AADC"/>
      </a:hlink>
      <a:folHlink>
        <a:srgbClr val="6F7BEB"/>
      </a:folHlink>
    </a:clrScheme>
    <a:fontScheme name="Custom 4">
      <a:majorFont>
        <a:latin typeface="Poppins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2_02_2023 PharmaJet PPT Theme" id="{C6E3523B-D9C4-4A8A-ABDD-63BDB58CDED9}" vid="{BD380A94-397F-4CDE-97E9-1E76AD176BFA}"/>
    </a:ext>
  </a:extLst>
</a:theme>
</file>

<file path=ppt/theme/theme6.xml><?xml version="1.0" encoding="utf-8"?>
<a:theme xmlns:a="http://schemas.openxmlformats.org/drawingml/2006/main" name="PJ Theme 2025">
  <a:themeElements>
    <a:clrScheme name="PharmaJet PowerPoint Template 2022">
      <a:dk1>
        <a:sysClr val="windowText" lastClr="000000"/>
      </a:dk1>
      <a:lt1>
        <a:sysClr val="window" lastClr="FFFFFF"/>
      </a:lt1>
      <a:dk2>
        <a:srgbClr val="003C4C"/>
      </a:dk2>
      <a:lt2>
        <a:srgbClr val="79ADD5"/>
      </a:lt2>
      <a:accent1>
        <a:srgbClr val="34AADC"/>
      </a:accent1>
      <a:accent2>
        <a:srgbClr val="041827"/>
      </a:accent2>
      <a:accent3>
        <a:srgbClr val="10578D"/>
      </a:accent3>
      <a:accent4>
        <a:srgbClr val="4497CF"/>
      </a:accent4>
      <a:accent5>
        <a:srgbClr val="3471B8"/>
      </a:accent5>
      <a:accent6>
        <a:srgbClr val="678CC8"/>
      </a:accent6>
      <a:hlink>
        <a:srgbClr val="34AADC"/>
      </a:hlink>
      <a:folHlink>
        <a:srgbClr val="6F7BEB"/>
      </a:folHlink>
    </a:clrScheme>
    <a:fontScheme name="Custom 5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J Theme 2025" id="{3014A37C-AA76-437B-947B-7EEE0F741DBB}" vid="{6E6FFC5F-CD87-4A10-BB4E-F16262D6ED21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43</TotalTime>
  <Words>2437</Words>
  <Application>Microsoft Office PowerPoint</Application>
  <PresentationFormat>Widescreen</PresentationFormat>
  <Paragraphs>229</Paragraphs>
  <Slides>14</Slides>
  <Notes>11</Notes>
  <HiddenSlides>0</HiddenSlides>
  <MMClips>1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8" baseType="lpstr">
      <vt:lpstr>Aptos</vt:lpstr>
      <vt:lpstr>Aptos Display</vt:lpstr>
      <vt:lpstr>Aptos Narrow</vt:lpstr>
      <vt:lpstr>Arial</vt:lpstr>
      <vt:lpstr>Calibri</vt:lpstr>
      <vt:lpstr>Courier New</vt:lpstr>
      <vt:lpstr>HelveticaNeueLTStd-BdCn</vt:lpstr>
      <vt:lpstr>HelveticaNeueLTStd-Cn</vt:lpstr>
      <vt:lpstr>HelveticaNeueLTStd-CnO</vt:lpstr>
      <vt:lpstr>HelveticaNeueLTStd-Roman</vt:lpstr>
      <vt:lpstr>Montserrat</vt:lpstr>
      <vt:lpstr>Myriad Pro Black SemiCond</vt:lpstr>
      <vt:lpstr>Myriad Pro Light SemiExt</vt:lpstr>
      <vt:lpstr>Poppins</vt:lpstr>
      <vt:lpstr>Segoe UI</vt:lpstr>
      <vt:lpstr>Segoe UI Semibold</vt:lpstr>
      <vt:lpstr>Wingdings</vt:lpstr>
      <vt:lpstr>3_02_2023 PharmaJet PPT Theme</vt:lpstr>
      <vt:lpstr>4_02_2023 PharmaJet PPT Theme</vt:lpstr>
      <vt:lpstr>2_Office Theme</vt:lpstr>
      <vt:lpstr>09_12_22 PharmaJet PPT Theme</vt:lpstr>
      <vt:lpstr>02_02_2023 PharmaJet PPT Theme</vt:lpstr>
      <vt:lpstr>PJ Theme 2025</vt:lpstr>
      <vt:lpstr>think-cell Slide</vt:lpstr>
      <vt:lpstr>  What If Delivery Is the Missing Link In Cancer Immunotherapy?</vt:lpstr>
      <vt:lpstr> PharmaJet at a Glance</vt:lpstr>
      <vt:lpstr>PharmaJet Needle-Free Delivery System Components</vt:lpstr>
      <vt:lpstr>PowerPoint Presentation</vt:lpstr>
      <vt:lpstr>Market Access through Global Partners and Regulatory Clearances</vt:lpstr>
      <vt:lpstr>The Benefits of Intradermal (ID) Delivery</vt:lpstr>
      <vt:lpstr>Tropis ID Delivery of a Therapeutic HPV Vaccine (pBI-11) Enhanced CD8⁺ T Cell Response in Preclinical Model</vt:lpstr>
      <vt:lpstr> Tropis ID Delivery of a Therapeutic HPV Vaccine (pBI-11) Slowed Tumor Growth and Improves Survival  </vt:lpstr>
      <vt:lpstr>Stratis IM delivery of HPV DNA vaccine (VB10.16) resulted in a 94% reduction in lesion size in CIN2/3 patients</vt:lpstr>
      <vt:lpstr>Stratis IM Delivery of HPV DNA Vaccine (VB10.16) Induced T Cell Responses and Disease Control In Advanced Cervical Cancer</vt:lpstr>
      <vt:lpstr>PowerPoint Presentation</vt:lpstr>
      <vt:lpstr>SCIB1 Trial Shows Promising Interim Responses; iSCIB1+ Expands with Tropis ID Delivery Cohort</vt:lpstr>
      <vt:lpstr>Conclusions: Partners Are Harnessing Needle-Free Delivery to Advance Cancer Vaccine Pipelines</vt:lpstr>
      <vt:lpstr> Intradermal (ID) Delivery of a Therapeutic HPV Vaccine Using Tropis® Slows Tumor Growth and Improves Survival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ilson G</dc:creator>
  <cp:lastModifiedBy>Nancy Lillie</cp:lastModifiedBy>
  <cp:revision>39</cp:revision>
  <dcterms:created xsi:type="dcterms:W3CDTF">2025-04-03T15:19:45Z</dcterms:created>
  <dcterms:modified xsi:type="dcterms:W3CDTF">2025-11-18T15:09:37Z</dcterms:modified>
</cp:coreProperties>
</file>